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74" r:id="rId2"/>
    <p:sldId id="377" r:id="rId3"/>
    <p:sldId id="381" r:id="rId4"/>
    <p:sldId id="394" r:id="rId5"/>
    <p:sldId id="382" r:id="rId6"/>
    <p:sldId id="395" r:id="rId7"/>
    <p:sldId id="393" r:id="rId8"/>
    <p:sldId id="396" r:id="rId9"/>
    <p:sldId id="383" r:id="rId10"/>
    <p:sldId id="397" r:id="rId11"/>
    <p:sldId id="400" r:id="rId12"/>
    <p:sldId id="401" r:id="rId13"/>
    <p:sldId id="402" r:id="rId14"/>
    <p:sldId id="403" r:id="rId15"/>
    <p:sldId id="385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만든 이" initials="오전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6C1B"/>
    <a:srgbClr val="EB9426"/>
    <a:srgbClr val="933F11"/>
    <a:srgbClr val="0C1D01"/>
    <a:srgbClr val="163501"/>
    <a:srgbClr val="F26A1B"/>
    <a:srgbClr val="FCFCFC"/>
    <a:srgbClr val="262626"/>
    <a:srgbClr val="7B3B0F"/>
    <a:srgbClr val="8640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밝은 스타일 1 - 강조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CAF9ED-07DC-4A11-8D7F-57B35C25682E}" styleName="보통 스타일 1 - 강조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82" autoAdjust="0"/>
    <p:restoredTop sz="95036" autoAdjust="0"/>
  </p:normalViewPr>
  <p:slideViewPr>
    <p:cSldViewPr snapToGrid="0" showGuides="1">
      <p:cViewPr varScale="1">
        <p:scale>
          <a:sx n="97" d="100"/>
          <a:sy n="97" d="100"/>
        </p:scale>
        <p:origin x="46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7" d="100"/>
          <a:sy n="87" d="100"/>
        </p:scale>
        <p:origin x="3840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22/07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22/07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085567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436347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878894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184552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778296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454530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24652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266AF5-CF1B-4C0B-8946-5A64CD829CD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450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034192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D1C047-F769-4795-BDAB-09C740A23A35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68763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2601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D1C047-F769-4795-BDAB-09C740A23A35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264567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144207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D1C047-F769-4795-BDAB-09C740A23A35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433211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70183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852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A239CBC-F8C8-4181-BD3C-8EF8AC61B31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58CED2-80CD-4B6D-B2E1-7B7DC14E4136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lack Background for Business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F96C1-CBCE-4F34-AA41-86698D6B63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65125"/>
            <a:ext cx="11201400" cy="7778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14B073-6A90-4302-A6C0-F59CA05145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663700"/>
            <a:ext cx="11201400" cy="4513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3483A8-C616-4E1A-9D07-70C3564473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185662-2790-405E-8BDB-6C36A7616E15}" type="datetime1">
              <a:rPr lang="en-US" smtClean="0"/>
              <a:t>7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F21B13-F774-4856-890B-A962C0E1F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969FCD-F7AE-4B18-8219-ACAA1C2B43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8399" y="6428582"/>
            <a:ext cx="368300" cy="365125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fld id="{66AA7C8F-8F82-4AF2-914D-E820E68E38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71059B9-264C-4D0F-9C9B-FC83E525545F}"/>
              </a:ext>
            </a:extLst>
          </p:cNvPr>
          <p:cNvSpPr/>
          <p:nvPr userDrawn="1"/>
        </p:nvSpPr>
        <p:spPr>
          <a:xfrm rot="5400000">
            <a:off x="11485648" y="6646951"/>
            <a:ext cx="53803" cy="368299"/>
          </a:xfrm>
          <a:prstGeom prst="rect">
            <a:avLst/>
          </a:prstGeom>
          <a:gradFill>
            <a:gsLst>
              <a:gs pos="100000">
                <a:srgbClr val="F3BC79"/>
              </a:gs>
              <a:gs pos="0">
                <a:srgbClr val="E98915"/>
              </a:gs>
              <a:gs pos="38000">
                <a:srgbClr val="EB9426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b="1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2620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80739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6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36" userDrawn="1">
          <p15:clr>
            <a:srgbClr val="F26B43"/>
          </p15:clr>
        </p15:guide>
        <p15:guide id="4" pos="7344" userDrawn="1">
          <p15:clr>
            <a:srgbClr val="F26B43"/>
          </p15:clr>
        </p15:guide>
        <p15:guide id="5" orient="horz" pos="3936" userDrawn="1">
          <p15:clr>
            <a:srgbClr val="F26B43"/>
          </p15:clr>
        </p15:guide>
        <p15:guide id="6" orient="horz" pos="960" userDrawn="1">
          <p15:clr>
            <a:srgbClr val="F26B43"/>
          </p15:clr>
        </p15:guide>
        <p15:guide id="7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10" Type="http://schemas.openxmlformats.org/officeDocument/2006/relationships/image" Target="../media/image14.png"/><Relationship Id="rId4" Type="http://schemas.openxmlformats.org/officeDocument/2006/relationships/image" Target="../media/image9.png"/><Relationship Id="rId9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microsoft.com/office/2007/relationships/media" Target="../media/media2.wmv"/><Relationship Id="rId7" Type="http://schemas.openxmlformats.org/officeDocument/2006/relationships/image" Target="../media/image24.png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2.wmv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microsoft.com/office/2007/relationships/media" Target="../media/media4.wmv"/><Relationship Id="rId7" Type="http://schemas.openxmlformats.org/officeDocument/2006/relationships/image" Target="../media/image26.png"/><Relationship Id="rId2" Type="http://schemas.openxmlformats.org/officeDocument/2006/relationships/video" Target="../media/media3.wmv"/><Relationship Id="rId1" Type="http://schemas.microsoft.com/office/2007/relationships/media" Target="../media/media3.wmv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4.wmv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microsoft.com/office/2007/relationships/media" Target="../media/media6.wmv"/><Relationship Id="rId7" Type="http://schemas.openxmlformats.org/officeDocument/2006/relationships/image" Target="../media/image28.png"/><Relationship Id="rId2" Type="http://schemas.openxmlformats.org/officeDocument/2006/relationships/video" Target="../media/media5.wmv"/><Relationship Id="rId1" Type="http://schemas.microsoft.com/office/2007/relationships/media" Target="../media/media5.wmv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6.wmv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github.com/20194535/sw_project" TargetMode="Externa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chair, indoor, window, floor&#10;&#10;Description automatically generated">
            <a:extLst>
              <a:ext uri="{FF2B5EF4-FFF2-40B4-BE49-F238E27FC236}">
                <a16:creationId xmlns:a16="http://schemas.microsoft.com/office/drawing/2014/main" id="{C4C4530C-B5C2-43B4-821D-C81E37B3C6D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6C985AC-A8D9-49C2-A0D8-1F5CA21BFF1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325257 h 6858000"/>
              <a:gd name="connsiteX3" fmla="*/ 9659257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4325257"/>
                </a:lnTo>
                <a:cubicBezTo>
                  <a:pt x="10793205" y="4325257"/>
                  <a:pt x="9659257" y="5459205"/>
                  <a:pt x="9659257" y="6858000"/>
                </a:cubicBez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28000">
                <a:schemeClr val="bg1">
                  <a:alpha val="95000"/>
                </a:schemeClr>
              </a:gs>
              <a:gs pos="100000">
                <a:schemeClr val="bg1">
                  <a:alpha val="95000"/>
                </a:schemeClr>
              </a:gs>
              <a:gs pos="57000">
                <a:schemeClr val="bg1">
                  <a:alpha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B23948-1D79-4549-8479-BC20A9C15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7390" y="2678659"/>
            <a:ext cx="5768712" cy="889000"/>
          </a:xfrm>
        </p:spPr>
        <p:txBody>
          <a:bodyPr vert="horz">
            <a:noAutofit/>
          </a:bodyPr>
          <a:lstStyle/>
          <a:p>
            <a:r>
              <a:rPr lang="ko-KR" altLang="en-US" sz="48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스마트 캔들 </a:t>
            </a:r>
            <a:r>
              <a:rPr lang="ko-KR" altLang="en-US" sz="4800" dirty="0" err="1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워머</a:t>
            </a:r>
            <a:endParaRPr lang="en-ID" sz="48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854E4B4-00E1-4B85-A3A6-C6D8FDB47CA7}"/>
              </a:ext>
            </a:extLst>
          </p:cNvPr>
          <p:cNvSpPr/>
          <p:nvPr/>
        </p:nvSpPr>
        <p:spPr>
          <a:xfrm flipH="1">
            <a:off x="9659256" y="4325257"/>
            <a:ext cx="2532743" cy="2532743"/>
          </a:xfrm>
          <a:custGeom>
            <a:avLst/>
            <a:gdLst>
              <a:gd name="connsiteX0" fmla="*/ 0 w 2444750"/>
              <a:gd name="connsiteY0" fmla="*/ 0 h 2444750"/>
              <a:gd name="connsiteX1" fmla="*/ 2444750 w 2444750"/>
              <a:gd name="connsiteY1" fmla="*/ 2444750 h 2444750"/>
              <a:gd name="connsiteX2" fmla="*/ 0 w 2444750"/>
              <a:gd name="connsiteY2" fmla="*/ 2444750 h 2444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44750" h="2444750">
                <a:moveTo>
                  <a:pt x="0" y="0"/>
                </a:moveTo>
                <a:cubicBezTo>
                  <a:pt x="1350198" y="0"/>
                  <a:pt x="2444750" y="1094552"/>
                  <a:pt x="2444750" y="2444750"/>
                </a:cubicBezTo>
                <a:lnTo>
                  <a:pt x="0" y="2444750"/>
                </a:lnTo>
                <a:close/>
              </a:path>
            </a:pathLst>
          </a:custGeom>
          <a:gradFill flip="none" rotWithShape="1">
            <a:gsLst>
              <a:gs pos="24000">
                <a:schemeClr val="tx1">
                  <a:alpha val="95000"/>
                </a:schemeClr>
              </a:gs>
              <a:gs pos="100000">
                <a:schemeClr val="tx1">
                  <a:alpha val="95000"/>
                </a:schemeClr>
              </a:gs>
              <a:gs pos="68000">
                <a:schemeClr val="tx1">
                  <a:alpha val="8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5" name="Partial Circle 15">
            <a:extLst>
              <a:ext uri="{FF2B5EF4-FFF2-40B4-BE49-F238E27FC236}">
                <a16:creationId xmlns:a16="http://schemas.microsoft.com/office/drawing/2014/main" id="{0CB13700-5B01-454F-972D-CC0654A528C6}"/>
              </a:ext>
            </a:extLst>
          </p:cNvPr>
          <p:cNvSpPr/>
          <p:nvPr/>
        </p:nvSpPr>
        <p:spPr>
          <a:xfrm>
            <a:off x="9067796" y="4857749"/>
            <a:ext cx="810840" cy="2002999"/>
          </a:xfrm>
          <a:custGeom>
            <a:avLst/>
            <a:gdLst>
              <a:gd name="connsiteX0" fmla="*/ 141 w 8167332"/>
              <a:gd name="connsiteY0" fmla="*/ 4117549 h 8167332"/>
              <a:gd name="connsiteX1" fmla="*/ 1173393 w 8167332"/>
              <a:gd name="connsiteY1" fmla="*/ 1218943 h 8167332"/>
              <a:gd name="connsiteX2" fmla="*/ 4083666 w 8167332"/>
              <a:gd name="connsiteY2" fmla="*/ 4083666 h 8167332"/>
              <a:gd name="connsiteX3" fmla="*/ 141 w 8167332"/>
              <a:gd name="connsiteY3" fmla="*/ 4117549 h 8167332"/>
              <a:gd name="connsiteX0" fmla="*/ 4083666 w 4175106"/>
              <a:gd name="connsiteY0" fmla="*/ 2864723 h 2956163"/>
              <a:gd name="connsiteX1" fmla="*/ 141 w 4175106"/>
              <a:gd name="connsiteY1" fmla="*/ 2898606 h 2956163"/>
              <a:gd name="connsiteX2" fmla="*/ 1173393 w 4175106"/>
              <a:gd name="connsiteY2" fmla="*/ 0 h 2956163"/>
              <a:gd name="connsiteX3" fmla="*/ 4175106 w 4175106"/>
              <a:gd name="connsiteY3" fmla="*/ 2956163 h 2956163"/>
              <a:gd name="connsiteX0" fmla="*/ 4083666 w 4083666"/>
              <a:gd name="connsiteY0" fmla="*/ 2864723 h 2898606"/>
              <a:gd name="connsiteX1" fmla="*/ 141 w 4083666"/>
              <a:gd name="connsiteY1" fmla="*/ 2898606 h 2898606"/>
              <a:gd name="connsiteX2" fmla="*/ 1173393 w 4083666"/>
              <a:gd name="connsiteY2" fmla="*/ 0 h 2898606"/>
              <a:gd name="connsiteX0" fmla="*/ 141 w 1173393"/>
              <a:gd name="connsiteY0" fmla="*/ 2898606 h 2898606"/>
              <a:gd name="connsiteX1" fmla="*/ 1173393 w 1173393"/>
              <a:gd name="connsiteY1" fmla="*/ 0 h 2898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73393" h="2898606">
                <a:moveTo>
                  <a:pt x="141" y="2898606"/>
                </a:moveTo>
                <a:cubicBezTo>
                  <a:pt x="-8850" y="1815008"/>
                  <a:pt x="413214" y="772266"/>
                  <a:pt x="1173393" y="0"/>
                </a:cubicBezTo>
              </a:path>
            </a:pathLst>
          </a:custGeom>
          <a:noFill/>
          <a:ln w="6350">
            <a:solidFill>
              <a:srgbClr val="E36C1B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30DF3BF-3F50-479C-855B-5FC00B2A98DF}"/>
              </a:ext>
            </a:extLst>
          </p:cNvPr>
          <p:cNvSpPr/>
          <p:nvPr/>
        </p:nvSpPr>
        <p:spPr>
          <a:xfrm flipH="1">
            <a:off x="9664699" y="4330700"/>
            <a:ext cx="2527299" cy="2527299"/>
          </a:xfrm>
          <a:custGeom>
            <a:avLst/>
            <a:gdLst>
              <a:gd name="connsiteX0" fmla="*/ 0 w 2527299"/>
              <a:gd name="connsiteY0" fmla="*/ 0 h 2527299"/>
              <a:gd name="connsiteX1" fmla="*/ 0 w 2527299"/>
              <a:gd name="connsiteY1" fmla="*/ 901700 h 2527299"/>
              <a:gd name="connsiteX2" fmla="*/ 166206 w 2527299"/>
              <a:gd name="connsiteY2" fmla="*/ 910093 h 2527299"/>
              <a:gd name="connsiteX3" fmla="*/ 1625597 w 2527299"/>
              <a:gd name="connsiteY3" fmla="*/ 2527299 h 2527299"/>
              <a:gd name="connsiteX4" fmla="*/ 2527299 w 2527299"/>
              <a:gd name="connsiteY4" fmla="*/ 2527299 h 2527299"/>
              <a:gd name="connsiteX5" fmla="*/ 0 w 2527299"/>
              <a:gd name="connsiteY5" fmla="*/ 0 h 2527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7299" h="2527299">
                <a:moveTo>
                  <a:pt x="0" y="0"/>
                </a:moveTo>
                <a:lnTo>
                  <a:pt x="0" y="901700"/>
                </a:lnTo>
                <a:lnTo>
                  <a:pt x="166206" y="910093"/>
                </a:lnTo>
                <a:cubicBezTo>
                  <a:pt x="985924" y="993340"/>
                  <a:pt x="1625597" y="1685618"/>
                  <a:pt x="1625597" y="2527299"/>
                </a:cubicBezTo>
                <a:lnTo>
                  <a:pt x="2527299" y="2527299"/>
                </a:lnTo>
                <a:cubicBezTo>
                  <a:pt x="2527299" y="1131511"/>
                  <a:pt x="1395788" y="0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45000"/>
                </a:srgb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4C4D279-5D3A-4A13-94BC-2880618CAB83}"/>
              </a:ext>
            </a:extLst>
          </p:cNvPr>
          <p:cNvSpPr/>
          <p:nvPr/>
        </p:nvSpPr>
        <p:spPr>
          <a:xfrm>
            <a:off x="600189" y="2"/>
            <a:ext cx="1038112" cy="277317"/>
          </a:xfrm>
          <a:custGeom>
            <a:avLst/>
            <a:gdLst>
              <a:gd name="connsiteX0" fmla="*/ 0 w 4093754"/>
              <a:gd name="connsiteY0" fmla="*/ 0 h 1093587"/>
              <a:gd name="connsiteX1" fmla="*/ 1221731 w 4093754"/>
              <a:gd name="connsiteY1" fmla="*/ 0 h 1093587"/>
              <a:gd name="connsiteX2" fmla="*/ 1284125 w 4093754"/>
              <a:gd name="connsiteY2" fmla="*/ 37906 h 1093587"/>
              <a:gd name="connsiteX3" fmla="*/ 2046876 w 4093754"/>
              <a:gd name="connsiteY3" fmla="*/ 231041 h 1093587"/>
              <a:gd name="connsiteX4" fmla="*/ 2809627 w 4093754"/>
              <a:gd name="connsiteY4" fmla="*/ 37906 h 1093587"/>
              <a:gd name="connsiteX5" fmla="*/ 2872021 w 4093754"/>
              <a:gd name="connsiteY5" fmla="*/ 0 h 1093587"/>
              <a:gd name="connsiteX6" fmla="*/ 4093754 w 4093754"/>
              <a:gd name="connsiteY6" fmla="*/ 0 h 1093587"/>
              <a:gd name="connsiteX7" fmla="*/ 4089024 w 4093754"/>
              <a:gd name="connsiteY7" fmla="*/ 7786 h 1093587"/>
              <a:gd name="connsiteX8" fmla="*/ 2046877 w 4093754"/>
              <a:gd name="connsiteY8" fmla="*/ 1093587 h 1093587"/>
              <a:gd name="connsiteX9" fmla="*/ 4731 w 4093754"/>
              <a:gd name="connsiteY9" fmla="*/ 7786 h 1093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93754" h="1093587">
                <a:moveTo>
                  <a:pt x="0" y="0"/>
                </a:moveTo>
                <a:lnTo>
                  <a:pt x="1221731" y="0"/>
                </a:lnTo>
                <a:lnTo>
                  <a:pt x="1284125" y="37906"/>
                </a:lnTo>
                <a:cubicBezTo>
                  <a:pt x="1510863" y="161077"/>
                  <a:pt x="1770699" y="231041"/>
                  <a:pt x="2046876" y="231041"/>
                </a:cubicBezTo>
                <a:cubicBezTo>
                  <a:pt x="2323053" y="231041"/>
                  <a:pt x="2582889" y="161077"/>
                  <a:pt x="2809627" y="37906"/>
                </a:cubicBezTo>
                <a:lnTo>
                  <a:pt x="2872021" y="0"/>
                </a:lnTo>
                <a:lnTo>
                  <a:pt x="4093754" y="0"/>
                </a:lnTo>
                <a:lnTo>
                  <a:pt x="4089024" y="7786"/>
                </a:lnTo>
                <a:cubicBezTo>
                  <a:pt x="3646451" y="662881"/>
                  <a:pt x="2896963" y="1093587"/>
                  <a:pt x="2046877" y="1093587"/>
                </a:cubicBezTo>
                <a:cubicBezTo>
                  <a:pt x="1196792" y="1093587"/>
                  <a:pt x="447303" y="662881"/>
                  <a:pt x="4731" y="7786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518DDEC-F583-4CB8-800E-DFC2E9DEAFA1}"/>
              </a:ext>
            </a:extLst>
          </p:cNvPr>
          <p:cNvSpPr/>
          <p:nvPr/>
        </p:nvSpPr>
        <p:spPr>
          <a:xfrm>
            <a:off x="11295743" y="4958991"/>
            <a:ext cx="725714" cy="725714"/>
          </a:xfrm>
          <a:prstGeom prst="ellipse">
            <a:avLst/>
          </a:pr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D6CEF78-2B21-498E-A620-F49DEDA74B49}"/>
              </a:ext>
            </a:extLst>
          </p:cNvPr>
          <p:cNvSpPr/>
          <p:nvPr/>
        </p:nvSpPr>
        <p:spPr>
          <a:xfrm>
            <a:off x="11484429" y="5147677"/>
            <a:ext cx="348342" cy="3483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CD0C6F2-7EED-41F0-A210-C513204989D4}"/>
              </a:ext>
            </a:extLst>
          </p:cNvPr>
          <p:cNvSpPr/>
          <p:nvPr/>
        </p:nvSpPr>
        <p:spPr>
          <a:xfrm flipV="1">
            <a:off x="1057390" y="6186545"/>
            <a:ext cx="123710" cy="123710"/>
          </a:xfrm>
          <a:prstGeom prst="ellipse">
            <a:avLst/>
          </a:prstGeom>
          <a:solidFill>
            <a:srgbClr val="F26A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4C588C07-7CCE-4A79-A93C-42D23738294C}"/>
              </a:ext>
            </a:extLst>
          </p:cNvPr>
          <p:cNvSpPr/>
          <p:nvPr/>
        </p:nvSpPr>
        <p:spPr>
          <a:xfrm>
            <a:off x="760513" y="6516378"/>
            <a:ext cx="721432" cy="341623"/>
          </a:xfrm>
          <a:custGeom>
            <a:avLst/>
            <a:gdLst>
              <a:gd name="connsiteX0" fmla="*/ 360716 w 721432"/>
              <a:gd name="connsiteY0" fmla="*/ 0 h 341623"/>
              <a:gd name="connsiteX1" fmla="*/ 716201 w 721432"/>
              <a:gd name="connsiteY1" fmla="*/ 289729 h 341623"/>
              <a:gd name="connsiteX2" fmla="*/ 721432 w 721432"/>
              <a:gd name="connsiteY2" fmla="*/ 341623 h 341623"/>
              <a:gd name="connsiteX3" fmla="*/ 0 w 721432"/>
              <a:gd name="connsiteY3" fmla="*/ 341623 h 341623"/>
              <a:gd name="connsiteX4" fmla="*/ 5231 w 721432"/>
              <a:gd name="connsiteY4" fmla="*/ 289729 h 341623"/>
              <a:gd name="connsiteX5" fmla="*/ 360716 w 721432"/>
              <a:gd name="connsiteY5" fmla="*/ 0 h 341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1432" h="341623">
                <a:moveTo>
                  <a:pt x="360716" y="0"/>
                </a:moveTo>
                <a:cubicBezTo>
                  <a:pt x="536066" y="0"/>
                  <a:pt x="682366" y="124381"/>
                  <a:pt x="716201" y="289729"/>
                </a:cubicBezTo>
                <a:lnTo>
                  <a:pt x="721432" y="341623"/>
                </a:lnTo>
                <a:lnTo>
                  <a:pt x="0" y="341623"/>
                </a:lnTo>
                <a:lnTo>
                  <a:pt x="5231" y="289729"/>
                </a:lnTo>
                <a:cubicBezTo>
                  <a:pt x="39066" y="124381"/>
                  <a:pt x="185366" y="0"/>
                  <a:pt x="360716" y="0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extBox 1"/>
          <p:cNvSpPr txBox="1"/>
          <p:nvPr/>
        </p:nvSpPr>
        <p:spPr>
          <a:xfrm>
            <a:off x="6980904" y="5987089"/>
            <a:ext cx="19997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20194577 </a:t>
            </a:r>
            <a:r>
              <a:rPr lang="ko-KR" altLang="en-US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김수현</a:t>
            </a:r>
            <a:endParaRPr lang="en-US" altLang="ko-KR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  <a:p>
            <a:r>
              <a:rPr lang="en-US" altLang="ko-KR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20194535 </a:t>
            </a:r>
            <a:r>
              <a:rPr lang="ko-KR" altLang="en-US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서진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984251" y="5591628"/>
            <a:ext cx="19664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경기천년바탕 Bold" panose="02020803020101020101" pitchFamily="18" charset="-127"/>
                <a:ea typeface="경기천년바탕 Bold" panose="02020803020101020101" pitchFamily="18" charset="-127"/>
              </a:rPr>
              <a:t>켜조</a:t>
            </a:r>
            <a:endParaRPr lang="ko-KR" altLang="en-US" dirty="0">
              <a:latin typeface="경기천년바탕 Bold" panose="02020803020101020101" pitchFamily="18" charset="-127"/>
              <a:ea typeface="경기천년바탕 Bold" panose="0202080302010102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81100" y="2287870"/>
            <a:ext cx="5211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산학</a:t>
            </a:r>
            <a:r>
              <a:rPr lang="en-US" altLang="ko-KR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SW</a:t>
            </a:r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프로젝트</a:t>
            </a:r>
            <a:endParaRPr lang="en-US" altLang="ko-KR" sz="20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7021571" y="5987089"/>
            <a:ext cx="1897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083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-94593" y="0"/>
            <a:ext cx="12286593" cy="69998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7577" y="2193698"/>
            <a:ext cx="2123806" cy="3278553"/>
          </a:xfrm>
          <a:prstGeom prst="rect">
            <a:avLst/>
          </a:prstGeom>
        </p:spPr>
      </p:pic>
      <p:sp>
        <p:nvSpPr>
          <p:cNvPr id="4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11521" y="230506"/>
            <a:ext cx="11201400" cy="21600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결과</a:t>
            </a:r>
            <a:endParaRPr lang="en-US" altLang="ko-KR" sz="36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  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-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기능성</a:t>
            </a:r>
          </a:p>
        </p:txBody>
      </p:sp>
      <p:sp>
        <p:nvSpPr>
          <p:cNvPr id="45" name="모서리가 둥근 직사각형 44"/>
          <p:cNvSpPr/>
          <p:nvPr/>
        </p:nvSpPr>
        <p:spPr>
          <a:xfrm>
            <a:off x="1091083" y="2017085"/>
            <a:ext cx="1559602" cy="181589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모서리가 둥근 직사각형 4"/>
          <p:cNvSpPr/>
          <p:nvPr/>
        </p:nvSpPr>
        <p:spPr>
          <a:xfrm>
            <a:off x="693682" y="1403131"/>
            <a:ext cx="4025462" cy="261707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" name="직선 연결선 8"/>
          <p:cNvCxnSpPr>
            <a:stCxn id="5" idx="3"/>
          </p:cNvCxnSpPr>
          <p:nvPr/>
        </p:nvCxnSpPr>
        <p:spPr>
          <a:xfrm>
            <a:off x="4719144" y="2711669"/>
            <a:ext cx="504497" cy="336331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666457" y="1479818"/>
            <a:ext cx="2079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자동화 기능</a:t>
            </a:r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3018326" y="3000820"/>
            <a:ext cx="895410" cy="853595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3869393" y="3247979"/>
            <a:ext cx="84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rPr>
              <a:t>조도센서</a:t>
            </a:r>
          </a:p>
        </p:txBody>
      </p:sp>
      <p:grpSp>
        <p:nvGrpSpPr>
          <p:cNvPr id="48" name="그룹 47"/>
          <p:cNvGrpSpPr/>
          <p:nvPr/>
        </p:nvGrpSpPr>
        <p:grpSpPr>
          <a:xfrm>
            <a:off x="693682" y="4196255"/>
            <a:ext cx="4529959" cy="2617076"/>
            <a:chOff x="693682" y="4196255"/>
            <a:chExt cx="4529959" cy="2617076"/>
          </a:xfrm>
        </p:grpSpPr>
        <p:sp>
          <p:nvSpPr>
            <p:cNvPr id="6" name="모서리가 둥근 직사각형 5"/>
            <p:cNvSpPr/>
            <p:nvPr/>
          </p:nvSpPr>
          <p:spPr>
            <a:xfrm>
              <a:off x="693682" y="4196255"/>
              <a:ext cx="4025462" cy="2617076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0" name="직선 연결선 9"/>
            <p:cNvCxnSpPr/>
            <p:nvPr/>
          </p:nvCxnSpPr>
          <p:spPr>
            <a:xfrm flipV="1">
              <a:off x="4727982" y="4939862"/>
              <a:ext cx="495659" cy="52090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2019300" y="4232771"/>
              <a:ext cx="23017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수치화</a:t>
              </a:r>
              <a:r>
                <a:rPr lang="ko-KR" altLang="en-US" sz="20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 기능</a:t>
              </a:r>
            </a:p>
          </p:txBody>
        </p:sp>
        <p:pic>
          <p:nvPicPr>
            <p:cNvPr id="24" name="그림 2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45259" y="5686599"/>
              <a:ext cx="1295055" cy="837976"/>
            </a:xfrm>
            <a:prstGeom prst="rect">
              <a:avLst/>
            </a:prstGeom>
          </p:spPr>
        </p:pic>
        <p:pic>
          <p:nvPicPr>
            <p:cNvPr id="26" name="그림 2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28888" y="4674381"/>
              <a:ext cx="1126010" cy="985000"/>
            </a:xfrm>
            <a:prstGeom prst="rect">
              <a:avLst/>
            </a:prstGeom>
          </p:spPr>
        </p:pic>
        <p:sp>
          <p:nvSpPr>
            <p:cNvPr id="38" name="TextBox 37"/>
            <p:cNvSpPr txBox="1"/>
            <p:nvPr/>
          </p:nvSpPr>
          <p:spPr>
            <a:xfrm>
              <a:off x="3995766" y="5758423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LCD</a:t>
              </a:r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패널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802696" y="4893345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택트스위치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endParaRPr>
            </a:p>
          </p:txBody>
        </p:sp>
      </p:grpSp>
      <p:grpSp>
        <p:nvGrpSpPr>
          <p:cNvPr id="47" name="그룹 46"/>
          <p:cNvGrpSpPr/>
          <p:nvPr/>
        </p:nvGrpSpPr>
        <p:grpSpPr>
          <a:xfrm>
            <a:off x="6894966" y="1651079"/>
            <a:ext cx="4602038" cy="4958972"/>
            <a:chOff x="6894966" y="1651079"/>
            <a:chExt cx="4602038" cy="4958972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7471542" y="1651079"/>
              <a:ext cx="4025462" cy="4958972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2" name="직선 연결선 11"/>
            <p:cNvCxnSpPr/>
            <p:nvPr/>
          </p:nvCxnSpPr>
          <p:spPr>
            <a:xfrm flipV="1">
              <a:off x="6894966" y="4133192"/>
              <a:ext cx="576576" cy="1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8872518" y="1970476"/>
              <a:ext cx="23017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알림 기능</a:t>
              </a:r>
            </a:p>
          </p:txBody>
        </p:sp>
        <p:pic>
          <p:nvPicPr>
            <p:cNvPr id="21" name="그림 20"/>
            <p:cNvPicPr>
              <a:picLocks noChangeAspect="1"/>
            </p:cNvPicPr>
            <p:nvPr/>
          </p:nvPicPr>
          <p:blipFill rotWithShape="1">
            <a:blip r:embed="rId7"/>
            <a:srcRect l="9306" r="2594"/>
            <a:stretch/>
          </p:blipFill>
          <p:spPr>
            <a:xfrm>
              <a:off x="10221126" y="4352935"/>
              <a:ext cx="1043908" cy="1169399"/>
            </a:xfrm>
            <a:prstGeom prst="rect">
              <a:avLst/>
            </a:prstGeom>
          </p:spPr>
        </p:pic>
        <p:pic>
          <p:nvPicPr>
            <p:cNvPr id="22" name="그림 21"/>
            <p:cNvPicPr>
              <a:picLocks noChangeAspect="1"/>
            </p:cNvPicPr>
            <p:nvPr/>
          </p:nvPicPr>
          <p:blipFill rotWithShape="1">
            <a:blip r:embed="rId8"/>
            <a:srcRect l="12099" r="10330"/>
            <a:stretch/>
          </p:blipFill>
          <p:spPr>
            <a:xfrm>
              <a:off x="7602947" y="4392860"/>
              <a:ext cx="1320090" cy="1105726"/>
            </a:xfrm>
            <a:prstGeom prst="rect">
              <a:avLst/>
            </a:prstGeom>
          </p:spPr>
        </p:pic>
        <p:pic>
          <p:nvPicPr>
            <p:cNvPr id="23" name="그림 22"/>
            <p:cNvPicPr>
              <a:picLocks noChangeAspect="1"/>
            </p:cNvPicPr>
            <p:nvPr/>
          </p:nvPicPr>
          <p:blipFill rotWithShape="1">
            <a:blip r:embed="rId9"/>
            <a:srcRect l="15939" r="9853"/>
            <a:stretch/>
          </p:blipFill>
          <p:spPr>
            <a:xfrm>
              <a:off x="8988034" y="4378142"/>
              <a:ext cx="1081876" cy="1236719"/>
            </a:xfrm>
            <a:prstGeom prst="rect">
              <a:avLst/>
            </a:prstGeom>
          </p:spPr>
        </p:pic>
        <p:sp>
          <p:nvSpPr>
            <p:cNvPr id="41" name="TextBox 40"/>
            <p:cNvSpPr txBox="1"/>
            <p:nvPr/>
          </p:nvSpPr>
          <p:spPr>
            <a:xfrm>
              <a:off x="7900007" y="5595556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피에조</a:t>
              </a:r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 </a:t>
              </a:r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부저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9119425" y="5624510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초음파 센서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0232606" y="5599489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할로겐 전구</a:t>
              </a: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837169" y="1925837"/>
            <a:ext cx="208938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스마트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워머의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전구는 밝기센서를 통해 방의 불이 꺼지면 자동으로 켜지는 기능이 있으며 스위치로 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on/off 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할 수 있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cxnSp>
        <p:nvCxnSpPr>
          <p:cNvPr id="44" name="직선 연결선 43"/>
          <p:cNvCxnSpPr/>
          <p:nvPr/>
        </p:nvCxnSpPr>
        <p:spPr>
          <a:xfrm>
            <a:off x="2888626" y="2023362"/>
            <a:ext cx="5552" cy="176004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연결선 45"/>
          <p:cNvCxnSpPr/>
          <p:nvPr/>
        </p:nvCxnSpPr>
        <p:spPr>
          <a:xfrm>
            <a:off x="2829542" y="4889157"/>
            <a:ext cx="5552" cy="176004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717249" y="2551577"/>
            <a:ext cx="360507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초음파센서를 통해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워머의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을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측정해서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이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적을수록 전구의 밝기가 더 밝아진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 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의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이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일정량 이하로 내려가면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피에조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부저에서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소리가 나서 사용자에게 알려준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34651" y="4833315"/>
            <a:ext cx="211312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아래쪽에 있는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택트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스위치를 통해 시간을 설정할 수 있으며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,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en-US" altLang="ko-KR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lcd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를 통해 시간을 볼 수 있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 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또한 캔들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을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수치로 수시로 확인할 수 있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 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cxnSp>
        <p:nvCxnSpPr>
          <p:cNvPr id="49" name="직선 연결선 48"/>
          <p:cNvCxnSpPr/>
          <p:nvPr/>
        </p:nvCxnSpPr>
        <p:spPr>
          <a:xfrm flipH="1">
            <a:off x="7783537" y="4190018"/>
            <a:ext cx="3283842" cy="3821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3884256" y="2306181"/>
            <a:ext cx="755164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rPr>
              <a:t>슬라이드 스위치</a:t>
            </a:r>
          </a:p>
        </p:txBody>
      </p:sp>
      <p:pic>
        <p:nvPicPr>
          <p:cNvPr id="51" name="그림 50"/>
          <p:cNvPicPr>
            <a:picLocks noChangeAspect="1"/>
          </p:cNvPicPr>
          <p:nvPr/>
        </p:nvPicPr>
        <p:blipFill rotWithShape="1">
          <a:blip r:embed="rId10"/>
          <a:srcRect l="8024" r="16189"/>
          <a:stretch/>
        </p:blipFill>
        <p:spPr>
          <a:xfrm>
            <a:off x="3107653" y="2045510"/>
            <a:ext cx="696879" cy="98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6038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-94593" y="-10510"/>
            <a:ext cx="12286593" cy="69998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7577" y="2193698"/>
            <a:ext cx="2123806" cy="3278553"/>
          </a:xfrm>
          <a:prstGeom prst="rect">
            <a:avLst/>
          </a:prstGeom>
        </p:spPr>
      </p:pic>
      <p:sp>
        <p:nvSpPr>
          <p:cNvPr id="4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95604" y="273159"/>
            <a:ext cx="11201400" cy="77787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endParaRPr lang="ko-KR" altLang="en-US" sz="40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1091083" y="2017085"/>
            <a:ext cx="1559602" cy="181589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모서리가 둥근 직사각형 4"/>
          <p:cNvSpPr/>
          <p:nvPr/>
        </p:nvSpPr>
        <p:spPr>
          <a:xfrm>
            <a:off x="693682" y="1403131"/>
            <a:ext cx="4025462" cy="261707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" name="직선 연결선 8"/>
          <p:cNvCxnSpPr>
            <a:stCxn id="5" idx="3"/>
          </p:cNvCxnSpPr>
          <p:nvPr/>
        </p:nvCxnSpPr>
        <p:spPr>
          <a:xfrm>
            <a:off x="4719144" y="2711669"/>
            <a:ext cx="504497" cy="336331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666457" y="1479818"/>
            <a:ext cx="2079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자동화 기능</a:t>
            </a:r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3018326" y="3000820"/>
            <a:ext cx="895410" cy="853595"/>
          </a:xfrm>
          <a:prstGeom prst="rect">
            <a:avLst/>
          </a:prstGeom>
        </p:spPr>
      </p:pic>
      <p:pic>
        <p:nvPicPr>
          <p:cNvPr id="25" name="그림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2016" y="2017812"/>
            <a:ext cx="698524" cy="894984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3869393" y="3247979"/>
            <a:ext cx="84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rPr>
              <a:t>조도센서</a:t>
            </a:r>
          </a:p>
        </p:txBody>
      </p:sp>
      <p:grpSp>
        <p:nvGrpSpPr>
          <p:cNvPr id="48" name="그룹 47"/>
          <p:cNvGrpSpPr/>
          <p:nvPr/>
        </p:nvGrpSpPr>
        <p:grpSpPr>
          <a:xfrm>
            <a:off x="693682" y="4196255"/>
            <a:ext cx="4529959" cy="2617076"/>
            <a:chOff x="693682" y="4196255"/>
            <a:chExt cx="4529959" cy="2617076"/>
          </a:xfrm>
        </p:grpSpPr>
        <p:sp>
          <p:nvSpPr>
            <p:cNvPr id="6" name="모서리가 둥근 직사각형 5"/>
            <p:cNvSpPr/>
            <p:nvPr/>
          </p:nvSpPr>
          <p:spPr>
            <a:xfrm>
              <a:off x="693682" y="4196255"/>
              <a:ext cx="4025462" cy="2617076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0" name="직선 연결선 9"/>
            <p:cNvCxnSpPr/>
            <p:nvPr/>
          </p:nvCxnSpPr>
          <p:spPr>
            <a:xfrm flipV="1">
              <a:off x="4727982" y="4939862"/>
              <a:ext cx="495659" cy="52090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2019300" y="4232771"/>
              <a:ext cx="23017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수치화</a:t>
              </a:r>
              <a:r>
                <a:rPr lang="ko-KR" altLang="en-US" sz="20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 기능</a:t>
              </a:r>
            </a:p>
          </p:txBody>
        </p:sp>
        <p:pic>
          <p:nvPicPr>
            <p:cNvPr id="24" name="그림 2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45259" y="5686599"/>
              <a:ext cx="1295055" cy="837976"/>
            </a:xfrm>
            <a:prstGeom prst="rect">
              <a:avLst/>
            </a:prstGeom>
          </p:spPr>
        </p:pic>
        <p:pic>
          <p:nvPicPr>
            <p:cNvPr id="26" name="그림 2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28888" y="4674381"/>
              <a:ext cx="1126010" cy="985000"/>
            </a:xfrm>
            <a:prstGeom prst="rect">
              <a:avLst/>
            </a:prstGeom>
          </p:spPr>
        </p:pic>
        <p:sp>
          <p:nvSpPr>
            <p:cNvPr id="38" name="TextBox 37"/>
            <p:cNvSpPr txBox="1"/>
            <p:nvPr/>
          </p:nvSpPr>
          <p:spPr>
            <a:xfrm>
              <a:off x="3995766" y="5758423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LCD</a:t>
              </a:r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패널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802696" y="4893345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택트스위치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endParaRPr>
            </a:p>
          </p:txBody>
        </p:sp>
      </p:grpSp>
      <p:sp>
        <p:nvSpPr>
          <p:cNvPr id="40" name="TextBox 39"/>
          <p:cNvSpPr txBox="1"/>
          <p:nvPr/>
        </p:nvSpPr>
        <p:spPr>
          <a:xfrm>
            <a:off x="3777680" y="2336790"/>
            <a:ext cx="11017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rPr>
              <a:t>로커스위치</a:t>
            </a:r>
          </a:p>
        </p:txBody>
      </p:sp>
      <p:grpSp>
        <p:nvGrpSpPr>
          <p:cNvPr id="47" name="그룹 46"/>
          <p:cNvGrpSpPr/>
          <p:nvPr/>
        </p:nvGrpSpPr>
        <p:grpSpPr>
          <a:xfrm>
            <a:off x="6894966" y="1651079"/>
            <a:ext cx="4602038" cy="4958972"/>
            <a:chOff x="6894966" y="1651079"/>
            <a:chExt cx="4602038" cy="4958972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7471542" y="1651079"/>
              <a:ext cx="4025462" cy="4958972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2" name="직선 연결선 11"/>
            <p:cNvCxnSpPr/>
            <p:nvPr/>
          </p:nvCxnSpPr>
          <p:spPr>
            <a:xfrm flipV="1">
              <a:off x="6894966" y="4133192"/>
              <a:ext cx="576576" cy="1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8872518" y="1970476"/>
              <a:ext cx="23017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알림 기능</a:t>
              </a:r>
            </a:p>
          </p:txBody>
        </p:sp>
        <p:pic>
          <p:nvPicPr>
            <p:cNvPr id="21" name="그림 20"/>
            <p:cNvPicPr>
              <a:picLocks noChangeAspect="1"/>
            </p:cNvPicPr>
            <p:nvPr/>
          </p:nvPicPr>
          <p:blipFill rotWithShape="1">
            <a:blip r:embed="rId8"/>
            <a:srcRect l="9306" r="2594"/>
            <a:stretch/>
          </p:blipFill>
          <p:spPr>
            <a:xfrm>
              <a:off x="10221126" y="4352935"/>
              <a:ext cx="1043908" cy="1169399"/>
            </a:xfrm>
            <a:prstGeom prst="rect">
              <a:avLst/>
            </a:prstGeom>
          </p:spPr>
        </p:pic>
        <p:pic>
          <p:nvPicPr>
            <p:cNvPr id="22" name="그림 21"/>
            <p:cNvPicPr>
              <a:picLocks noChangeAspect="1"/>
            </p:cNvPicPr>
            <p:nvPr/>
          </p:nvPicPr>
          <p:blipFill rotWithShape="1">
            <a:blip r:embed="rId9"/>
            <a:srcRect l="12099" r="10330"/>
            <a:stretch/>
          </p:blipFill>
          <p:spPr>
            <a:xfrm>
              <a:off x="7602947" y="4392860"/>
              <a:ext cx="1320090" cy="1105726"/>
            </a:xfrm>
            <a:prstGeom prst="rect">
              <a:avLst/>
            </a:prstGeom>
          </p:spPr>
        </p:pic>
        <p:pic>
          <p:nvPicPr>
            <p:cNvPr id="23" name="그림 22"/>
            <p:cNvPicPr>
              <a:picLocks noChangeAspect="1"/>
            </p:cNvPicPr>
            <p:nvPr/>
          </p:nvPicPr>
          <p:blipFill rotWithShape="1">
            <a:blip r:embed="rId10"/>
            <a:srcRect l="15939" r="9853"/>
            <a:stretch/>
          </p:blipFill>
          <p:spPr>
            <a:xfrm>
              <a:off x="8988034" y="4378142"/>
              <a:ext cx="1081876" cy="1236719"/>
            </a:xfrm>
            <a:prstGeom prst="rect">
              <a:avLst/>
            </a:prstGeom>
          </p:spPr>
        </p:pic>
        <p:sp>
          <p:nvSpPr>
            <p:cNvPr id="41" name="TextBox 40"/>
            <p:cNvSpPr txBox="1"/>
            <p:nvPr/>
          </p:nvSpPr>
          <p:spPr>
            <a:xfrm>
              <a:off x="7900007" y="5595556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피에조</a:t>
              </a:r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 </a:t>
              </a:r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부저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9119425" y="5624510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초음파 센서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0232606" y="5599489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할로겐 전구</a:t>
              </a: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837169" y="1925837"/>
            <a:ext cx="208938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스마트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워머의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전구는 밝기센서를 통해 방의 불이 꺼지면 자동으로 켜지는 기능이 있으며 스위치로 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on/off 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할 수 있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cxnSp>
        <p:nvCxnSpPr>
          <p:cNvPr id="44" name="직선 연결선 43"/>
          <p:cNvCxnSpPr/>
          <p:nvPr/>
        </p:nvCxnSpPr>
        <p:spPr>
          <a:xfrm>
            <a:off x="2888626" y="2023362"/>
            <a:ext cx="5552" cy="176004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연결선 45"/>
          <p:cNvCxnSpPr/>
          <p:nvPr/>
        </p:nvCxnSpPr>
        <p:spPr>
          <a:xfrm>
            <a:off x="2829542" y="4889157"/>
            <a:ext cx="5552" cy="176004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717249" y="2551577"/>
            <a:ext cx="360507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초음파센서를 통해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워머의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을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측정해서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이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적을수록 전구의 밝기가 더 밝아진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 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의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이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일정량 이하로 내려가면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피에조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부저에서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소리가 나서 사용자에게 알려준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18137" y="4830031"/>
            <a:ext cx="19771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아래쪽에 있는 </a:t>
            </a:r>
            <a:r>
              <a:rPr lang="en-US" altLang="ko-KR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lcd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를 통해 시간을 볼 수 있고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,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버튼을 누르면 캔들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을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수치로도 확인할 수 있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 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cxnSp>
        <p:nvCxnSpPr>
          <p:cNvPr id="49" name="직선 연결선 48"/>
          <p:cNvCxnSpPr/>
          <p:nvPr/>
        </p:nvCxnSpPr>
        <p:spPr>
          <a:xfrm flipH="1">
            <a:off x="7783537" y="4190018"/>
            <a:ext cx="3283842" cy="3821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11521" y="230506"/>
            <a:ext cx="11201400" cy="21600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결과</a:t>
            </a:r>
            <a:endParaRPr lang="en-US" altLang="ko-KR" sz="36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  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-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목표 달성도</a:t>
            </a:r>
          </a:p>
        </p:txBody>
      </p:sp>
      <p:sp>
        <p:nvSpPr>
          <p:cNvPr id="14" name="액자 13"/>
          <p:cNvSpPr/>
          <p:nvPr/>
        </p:nvSpPr>
        <p:spPr>
          <a:xfrm>
            <a:off x="2916064" y="1924172"/>
            <a:ext cx="1801433" cy="1122163"/>
          </a:xfrm>
          <a:prstGeom prst="frame">
            <a:avLst>
              <a:gd name="adj1" fmla="val 875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1" name="액자 50"/>
          <p:cNvSpPr/>
          <p:nvPr/>
        </p:nvSpPr>
        <p:spPr>
          <a:xfrm>
            <a:off x="10069910" y="4333416"/>
            <a:ext cx="1396037" cy="1666929"/>
          </a:xfrm>
          <a:prstGeom prst="frame">
            <a:avLst>
              <a:gd name="adj1" fmla="val 875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2" name="액자 51"/>
          <p:cNvSpPr/>
          <p:nvPr/>
        </p:nvSpPr>
        <p:spPr>
          <a:xfrm>
            <a:off x="808283" y="5311473"/>
            <a:ext cx="1859489" cy="1122163"/>
          </a:xfrm>
          <a:prstGeom prst="frame">
            <a:avLst>
              <a:gd name="adj1" fmla="val 875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3" name="모서리가 둥근 직사각형 52"/>
          <p:cNvSpPr/>
          <p:nvPr/>
        </p:nvSpPr>
        <p:spPr>
          <a:xfrm>
            <a:off x="692602" y="1405345"/>
            <a:ext cx="4025462" cy="2617076"/>
          </a:xfrm>
          <a:prstGeom prst="roundRect">
            <a:avLst/>
          </a:prstGeom>
          <a:solidFill>
            <a:srgbClr val="E36C1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모서리가 둥근 직사각형 53"/>
          <p:cNvSpPr/>
          <p:nvPr/>
        </p:nvSpPr>
        <p:spPr>
          <a:xfrm>
            <a:off x="700045" y="4196255"/>
            <a:ext cx="4025462" cy="2617076"/>
          </a:xfrm>
          <a:prstGeom prst="roundRect">
            <a:avLst/>
          </a:prstGeom>
          <a:solidFill>
            <a:srgbClr val="E36C1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모서리가 둥근 직사각형 54"/>
          <p:cNvSpPr/>
          <p:nvPr/>
        </p:nvSpPr>
        <p:spPr>
          <a:xfrm>
            <a:off x="7474017" y="1645380"/>
            <a:ext cx="4025462" cy="4958972"/>
          </a:xfrm>
          <a:prstGeom prst="roundRect">
            <a:avLst/>
          </a:prstGeom>
          <a:solidFill>
            <a:srgbClr val="E36C1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2278715" y="2447968"/>
            <a:ext cx="2056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30%</a:t>
            </a:r>
            <a:endParaRPr lang="ko-KR" altLang="en-US" sz="32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257180" y="5229946"/>
            <a:ext cx="2056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30%</a:t>
            </a:r>
            <a:endParaRPr lang="ko-KR" altLang="en-US" sz="32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9060213" y="3894535"/>
            <a:ext cx="2056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40%</a:t>
            </a:r>
            <a:endParaRPr lang="ko-KR" altLang="en-US" sz="32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530202" y="5677089"/>
            <a:ext cx="2056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chemeClr val="bg1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100%</a:t>
            </a:r>
            <a:endParaRPr lang="ko-KR" altLang="en-US" sz="3200" dirty="0">
              <a:solidFill>
                <a:schemeClr val="bg1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1487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15" grpId="0"/>
      <p:bldP spid="56" grpId="0"/>
      <p:bldP spid="57" grpId="0"/>
      <p:bldP spid="5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-94593" y="0"/>
            <a:ext cx="12286593" cy="69998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11521" y="230506"/>
            <a:ext cx="11201400" cy="21600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결과</a:t>
            </a:r>
            <a:endParaRPr lang="en-US" altLang="ko-KR" sz="36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  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-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프로젝트 구현 결과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: 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시간설정</a:t>
            </a:r>
          </a:p>
        </p:txBody>
      </p:sp>
      <p:pic>
        <p:nvPicPr>
          <p:cNvPr id="14" name="KakaoTalk_20220722_130351795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523998" y="1607279"/>
            <a:ext cx="3941381" cy="4701556"/>
          </a:xfrm>
          <a:prstGeom prst="rect">
            <a:avLst/>
          </a:prstGeom>
        </p:spPr>
      </p:pic>
      <p:pic>
        <p:nvPicPr>
          <p:cNvPr id="15" name="KakaoTalk_20220722_130355777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6663556" y="1626476"/>
            <a:ext cx="4088524" cy="4682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537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-94593" y="0"/>
            <a:ext cx="12286593" cy="69998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11521" y="230506"/>
            <a:ext cx="11201400" cy="21600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결과</a:t>
            </a:r>
            <a:endParaRPr lang="en-US" altLang="ko-KR" sz="36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  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-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프로젝트 구현 결과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: 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조명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on/off</a:t>
            </a:r>
            <a:endParaRPr lang="ko-KR" altLang="en-US" sz="28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pic>
        <p:nvPicPr>
          <p:cNvPr id="2" name="KakaoTalk_20220722_130401677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2039006" y="1755228"/>
            <a:ext cx="3189112" cy="4839292"/>
          </a:xfrm>
          <a:prstGeom prst="rect">
            <a:avLst/>
          </a:prstGeom>
        </p:spPr>
      </p:pic>
      <p:pic>
        <p:nvPicPr>
          <p:cNvPr id="5" name="KakaoTalk_20220722_130406101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6927475" y="1733221"/>
            <a:ext cx="3582870" cy="491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252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-94593" y="0"/>
            <a:ext cx="12286593" cy="69998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11521" y="230506"/>
            <a:ext cx="11201400" cy="21600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결과</a:t>
            </a:r>
            <a:endParaRPr lang="en-US" altLang="ko-KR" sz="36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  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-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프로젝트 구현 결과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: </a:t>
            </a:r>
            <a:r>
              <a:rPr lang="ko-KR" altLang="en-US" sz="2800" dirty="0" err="1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잔여량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수치와 </a:t>
            </a:r>
            <a:r>
              <a:rPr lang="ko-KR" altLang="en-US" sz="2800" dirty="0" err="1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부저를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통한 알림</a:t>
            </a:r>
          </a:p>
        </p:txBody>
      </p:sp>
      <p:pic>
        <p:nvPicPr>
          <p:cNvPr id="2" name="KakaoTalk_20220722_130413305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6648" y="1979903"/>
            <a:ext cx="3279184" cy="4236966"/>
          </a:xfrm>
          <a:prstGeom prst="rect">
            <a:avLst/>
          </a:prstGeom>
        </p:spPr>
      </p:pic>
      <p:pic>
        <p:nvPicPr>
          <p:cNvPr id="5" name="KakaoTalk_20220722_130418163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6805764" y="1979903"/>
            <a:ext cx="3331131" cy="4236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605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chair, indoor, window, floor&#10;&#10;Description automatically generated">
            <a:extLst>
              <a:ext uri="{FF2B5EF4-FFF2-40B4-BE49-F238E27FC236}">
                <a16:creationId xmlns:a16="http://schemas.microsoft.com/office/drawing/2014/main" id="{C4C4530C-B5C2-43B4-821D-C81E37B3C6D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6C985AC-A8D9-49C2-A0D8-1F5CA21BFF1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325257 h 6858000"/>
              <a:gd name="connsiteX3" fmla="*/ 9659257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4325257"/>
                </a:lnTo>
                <a:cubicBezTo>
                  <a:pt x="10793205" y="4325257"/>
                  <a:pt x="9659257" y="5459205"/>
                  <a:pt x="9659257" y="6858000"/>
                </a:cubicBez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28000">
                <a:schemeClr val="bg1">
                  <a:alpha val="95000"/>
                </a:schemeClr>
              </a:gs>
              <a:gs pos="100000">
                <a:schemeClr val="bg1">
                  <a:alpha val="95000"/>
                </a:schemeClr>
              </a:gs>
              <a:gs pos="57000">
                <a:schemeClr val="bg1">
                  <a:alpha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B23948-1D79-4549-8479-BC20A9C15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245" y="2746709"/>
            <a:ext cx="4617732" cy="889000"/>
          </a:xfrm>
        </p:spPr>
        <p:txBody>
          <a:bodyPr vert="horz">
            <a:normAutofit/>
          </a:bodyPr>
          <a:lstStyle/>
          <a:p>
            <a:r>
              <a:rPr lang="ko-KR" altLang="en-US" sz="48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감사합니다</a:t>
            </a:r>
            <a:endParaRPr lang="en-ID" sz="48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854E4B4-00E1-4B85-A3A6-C6D8FDB47CA7}"/>
              </a:ext>
            </a:extLst>
          </p:cNvPr>
          <p:cNvSpPr/>
          <p:nvPr/>
        </p:nvSpPr>
        <p:spPr>
          <a:xfrm flipH="1">
            <a:off x="9659256" y="4325257"/>
            <a:ext cx="2532743" cy="2532743"/>
          </a:xfrm>
          <a:custGeom>
            <a:avLst/>
            <a:gdLst>
              <a:gd name="connsiteX0" fmla="*/ 0 w 2444750"/>
              <a:gd name="connsiteY0" fmla="*/ 0 h 2444750"/>
              <a:gd name="connsiteX1" fmla="*/ 2444750 w 2444750"/>
              <a:gd name="connsiteY1" fmla="*/ 2444750 h 2444750"/>
              <a:gd name="connsiteX2" fmla="*/ 0 w 2444750"/>
              <a:gd name="connsiteY2" fmla="*/ 2444750 h 2444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44750" h="2444750">
                <a:moveTo>
                  <a:pt x="0" y="0"/>
                </a:moveTo>
                <a:cubicBezTo>
                  <a:pt x="1350198" y="0"/>
                  <a:pt x="2444750" y="1094552"/>
                  <a:pt x="2444750" y="2444750"/>
                </a:cubicBezTo>
                <a:lnTo>
                  <a:pt x="0" y="2444750"/>
                </a:lnTo>
                <a:close/>
              </a:path>
            </a:pathLst>
          </a:custGeom>
          <a:gradFill flip="none" rotWithShape="1">
            <a:gsLst>
              <a:gs pos="24000">
                <a:schemeClr val="tx1">
                  <a:alpha val="95000"/>
                </a:schemeClr>
              </a:gs>
              <a:gs pos="100000">
                <a:schemeClr val="tx1">
                  <a:alpha val="95000"/>
                </a:schemeClr>
              </a:gs>
              <a:gs pos="68000">
                <a:schemeClr val="tx1">
                  <a:alpha val="8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5" name="Partial Circle 15">
            <a:extLst>
              <a:ext uri="{FF2B5EF4-FFF2-40B4-BE49-F238E27FC236}">
                <a16:creationId xmlns:a16="http://schemas.microsoft.com/office/drawing/2014/main" id="{0CB13700-5B01-454F-972D-CC0654A528C6}"/>
              </a:ext>
            </a:extLst>
          </p:cNvPr>
          <p:cNvSpPr/>
          <p:nvPr/>
        </p:nvSpPr>
        <p:spPr>
          <a:xfrm>
            <a:off x="9067796" y="4857749"/>
            <a:ext cx="810840" cy="2002999"/>
          </a:xfrm>
          <a:custGeom>
            <a:avLst/>
            <a:gdLst>
              <a:gd name="connsiteX0" fmla="*/ 141 w 8167332"/>
              <a:gd name="connsiteY0" fmla="*/ 4117549 h 8167332"/>
              <a:gd name="connsiteX1" fmla="*/ 1173393 w 8167332"/>
              <a:gd name="connsiteY1" fmla="*/ 1218943 h 8167332"/>
              <a:gd name="connsiteX2" fmla="*/ 4083666 w 8167332"/>
              <a:gd name="connsiteY2" fmla="*/ 4083666 h 8167332"/>
              <a:gd name="connsiteX3" fmla="*/ 141 w 8167332"/>
              <a:gd name="connsiteY3" fmla="*/ 4117549 h 8167332"/>
              <a:gd name="connsiteX0" fmla="*/ 4083666 w 4175106"/>
              <a:gd name="connsiteY0" fmla="*/ 2864723 h 2956163"/>
              <a:gd name="connsiteX1" fmla="*/ 141 w 4175106"/>
              <a:gd name="connsiteY1" fmla="*/ 2898606 h 2956163"/>
              <a:gd name="connsiteX2" fmla="*/ 1173393 w 4175106"/>
              <a:gd name="connsiteY2" fmla="*/ 0 h 2956163"/>
              <a:gd name="connsiteX3" fmla="*/ 4175106 w 4175106"/>
              <a:gd name="connsiteY3" fmla="*/ 2956163 h 2956163"/>
              <a:gd name="connsiteX0" fmla="*/ 4083666 w 4083666"/>
              <a:gd name="connsiteY0" fmla="*/ 2864723 h 2898606"/>
              <a:gd name="connsiteX1" fmla="*/ 141 w 4083666"/>
              <a:gd name="connsiteY1" fmla="*/ 2898606 h 2898606"/>
              <a:gd name="connsiteX2" fmla="*/ 1173393 w 4083666"/>
              <a:gd name="connsiteY2" fmla="*/ 0 h 2898606"/>
              <a:gd name="connsiteX0" fmla="*/ 141 w 1173393"/>
              <a:gd name="connsiteY0" fmla="*/ 2898606 h 2898606"/>
              <a:gd name="connsiteX1" fmla="*/ 1173393 w 1173393"/>
              <a:gd name="connsiteY1" fmla="*/ 0 h 2898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73393" h="2898606">
                <a:moveTo>
                  <a:pt x="141" y="2898606"/>
                </a:moveTo>
                <a:cubicBezTo>
                  <a:pt x="-8850" y="1815008"/>
                  <a:pt x="413214" y="772266"/>
                  <a:pt x="1173393" y="0"/>
                </a:cubicBezTo>
              </a:path>
            </a:pathLst>
          </a:custGeom>
          <a:noFill/>
          <a:ln w="6350">
            <a:solidFill>
              <a:srgbClr val="E36C1B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30DF3BF-3F50-479C-855B-5FC00B2A98DF}"/>
              </a:ext>
            </a:extLst>
          </p:cNvPr>
          <p:cNvSpPr/>
          <p:nvPr/>
        </p:nvSpPr>
        <p:spPr>
          <a:xfrm flipH="1">
            <a:off x="9664699" y="4330700"/>
            <a:ext cx="2527299" cy="2527299"/>
          </a:xfrm>
          <a:custGeom>
            <a:avLst/>
            <a:gdLst>
              <a:gd name="connsiteX0" fmla="*/ 0 w 2527299"/>
              <a:gd name="connsiteY0" fmla="*/ 0 h 2527299"/>
              <a:gd name="connsiteX1" fmla="*/ 0 w 2527299"/>
              <a:gd name="connsiteY1" fmla="*/ 901700 h 2527299"/>
              <a:gd name="connsiteX2" fmla="*/ 166206 w 2527299"/>
              <a:gd name="connsiteY2" fmla="*/ 910093 h 2527299"/>
              <a:gd name="connsiteX3" fmla="*/ 1625597 w 2527299"/>
              <a:gd name="connsiteY3" fmla="*/ 2527299 h 2527299"/>
              <a:gd name="connsiteX4" fmla="*/ 2527299 w 2527299"/>
              <a:gd name="connsiteY4" fmla="*/ 2527299 h 2527299"/>
              <a:gd name="connsiteX5" fmla="*/ 0 w 2527299"/>
              <a:gd name="connsiteY5" fmla="*/ 0 h 2527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7299" h="2527299">
                <a:moveTo>
                  <a:pt x="0" y="0"/>
                </a:moveTo>
                <a:lnTo>
                  <a:pt x="0" y="901700"/>
                </a:lnTo>
                <a:lnTo>
                  <a:pt x="166206" y="910093"/>
                </a:lnTo>
                <a:cubicBezTo>
                  <a:pt x="985924" y="993340"/>
                  <a:pt x="1625597" y="1685618"/>
                  <a:pt x="1625597" y="2527299"/>
                </a:cubicBezTo>
                <a:lnTo>
                  <a:pt x="2527299" y="2527299"/>
                </a:lnTo>
                <a:cubicBezTo>
                  <a:pt x="2527299" y="1131511"/>
                  <a:pt x="1395788" y="0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45000"/>
                </a:srgb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4C4D279-5D3A-4A13-94BC-2880618CAB83}"/>
              </a:ext>
            </a:extLst>
          </p:cNvPr>
          <p:cNvSpPr/>
          <p:nvPr/>
        </p:nvSpPr>
        <p:spPr>
          <a:xfrm>
            <a:off x="600189" y="2"/>
            <a:ext cx="1038112" cy="277317"/>
          </a:xfrm>
          <a:custGeom>
            <a:avLst/>
            <a:gdLst>
              <a:gd name="connsiteX0" fmla="*/ 0 w 4093754"/>
              <a:gd name="connsiteY0" fmla="*/ 0 h 1093587"/>
              <a:gd name="connsiteX1" fmla="*/ 1221731 w 4093754"/>
              <a:gd name="connsiteY1" fmla="*/ 0 h 1093587"/>
              <a:gd name="connsiteX2" fmla="*/ 1284125 w 4093754"/>
              <a:gd name="connsiteY2" fmla="*/ 37906 h 1093587"/>
              <a:gd name="connsiteX3" fmla="*/ 2046876 w 4093754"/>
              <a:gd name="connsiteY3" fmla="*/ 231041 h 1093587"/>
              <a:gd name="connsiteX4" fmla="*/ 2809627 w 4093754"/>
              <a:gd name="connsiteY4" fmla="*/ 37906 h 1093587"/>
              <a:gd name="connsiteX5" fmla="*/ 2872021 w 4093754"/>
              <a:gd name="connsiteY5" fmla="*/ 0 h 1093587"/>
              <a:gd name="connsiteX6" fmla="*/ 4093754 w 4093754"/>
              <a:gd name="connsiteY6" fmla="*/ 0 h 1093587"/>
              <a:gd name="connsiteX7" fmla="*/ 4089024 w 4093754"/>
              <a:gd name="connsiteY7" fmla="*/ 7786 h 1093587"/>
              <a:gd name="connsiteX8" fmla="*/ 2046877 w 4093754"/>
              <a:gd name="connsiteY8" fmla="*/ 1093587 h 1093587"/>
              <a:gd name="connsiteX9" fmla="*/ 4731 w 4093754"/>
              <a:gd name="connsiteY9" fmla="*/ 7786 h 1093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93754" h="1093587">
                <a:moveTo>
                  <a:pt x="0" y="0"/>
                </a:moveTo>
                <a:lnTo>
                  <a:pt x="1221731" y="0"/>
                </a:lnTo>
                <a:lnTo>
                  <a:pt x="1284125" y="37906"/>
                </a:lnTo>
                <a:cubicBezTo>
                  <a:pt x="1510863" y="161077"/>
                  <a:pt x="1770699" y="231041"/>
                  <a:pt x="2046876" y="231041"/>
                </a:cubicBezTo>
                <a:cubicBezTo>
                  <a:pt x="2323053" y="231041"/>
                  <a:pt x="2582889" y="161077"/>
                  <a:pt x="2809627" y="37906"/>
                </a:cubicBezTo>
                <a:lnTo>
                  <a:pt x="2872021" y="0"/>
                </a:lnTo>
                <a:lnTo>
                  <a:pt x="4093754" y="0"/>
                </a:lnTo>
                <a:lnTo>
                  <a:pt x="4089024" y="7786"/>
                </a:lnTo>
                <a:cubicBezTo>
                  <a:pt x="3646451" y="662881"/>
                  <a:pt x="2896963" y="1093587"/>
                  <a:pt x="2046877" y="1093587"/>
                </a:cubicBezTo>
                <a:cubicBezTo>
                  <a:pt x="1196792" y="1093587"/>
                  <a:pt x="447303" y="662881"/>
                  <a:pt x="4731" y="7786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518DDEC-F583-4CB8-800E-DFC2E9DEAFA1}"/>
              </a:ext>
            </a:extLst>
          </p:cNvPr>
          <p:cNvSpPr/>
          <p:nvPr/>
        </p:nvSpPr>
        <p:spPr>
          <a:xfrm>
            <a:off x="11295743" y="4958991"/>
            <a:ext cx="725714" cy="725714"/>
          </a:xfrm>
          <a:prstGeom prst="ellipse">
            <a:avLst/>
          </a:pr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D6CEF78-2B21-498E-A620-F49DEDA74B49}"/>
              </a:ext>
            </a:extLst>
          </p:cNvPr>
          <p:cNvSpPr/>
          <p:nvPr/>
        </p:nvSpPr>
        <p:spPr>
          <a:xfrm>
            <a:off x="11484429" y="5147677"/>
            <a:ext cx="348342" cy="3483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CD0C6F2-7EED-41F0-A210-C513204989D4}"/>
              </a:ext>
            </a:extLst>
          </p:cNvPr>
          <p:cNvSpPr/>
          <p:nvPr/>
        </p:nvSpPr>
        <p:spPr>
          <a:xfrm flipV="1">
            <a:off x="1057390" y="6186545"/>
            <a:ext cx="123710" cy="123710"/>
          </a:xfrm>
          <a:prstGeom prst="ellipse">
            <a:avLst/>
          </a:prstGeom>
          <a:solidFill>
            <a:srgbClr val="F26A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4C588C07-7CCE-4A79-A93C-42D23738294C}"/>
              </a:ext>
            </a:extLst>
          </p:cNvPr>
          <p:cNvSpPr/>
          <p:nvPr/>
        </p:nvSpPr>
        <p:spPr>
          <a:xfrm>
            <a:off x="760513" y="6516378"/>
            <a:ext cx="721432" cy="341623"/>
          </a:xfrm>
          <a:custGeom>
            <a:avLst/>
            <a:gdLst>
              <a:gd name="connsiteX0" fmla="*/ 360716 w 721432"/>
              <a:gd name="connsiteY0" fmla="*/ 0 h 341623"/>
              <a:gd name="connsiteX1" fmla="*/ 716201 w 721432"/>
              <a:gd name="connsiteY1" fmla="*/ 289729 h 341623"/>
              <a:gd name="connsiteX2" fmla="*/ 721432 w 721432"/>
              <a:gd name="connsiteY2" fmla="*/ 341623 h 341623"/>
              <a:gd name="connsiteX3" fmla="*/ 0 w 721432"/>
              <a:gd name="connsiteY3" fmla="*/ 341623 h 341623"/>
              <a:gd name="connsiteX4" fmla="*/ 5231 w 721432"/>
              <a:gd name="connsiteY4" fmla="*/ 289729 h 341623"/>
              <a:gd name="connsiteX5" fmla="*/ 360716 w 721432"/>
              <a:gd name="connsiteY5" fmla="*/ 0 h 341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1432" h="341623">
                <a:moveTo>
                  <a:pt x="360716" y="0"/>
                </a:moveTo>
                <a:cubicBezTo>
                  <a:pt x="536066" y="0"/>
                  <a:pt x="682366" y="124381"/>
                  <a:pt x="716201" y="289729"/>
                </a:cubicBezTo>
                <a:lnTo>
                  <a:pt x="721432" y="341623"/>
                </a:lnTo>
                <a:lnTo>
                  <a:pt x="0" y="341623"/>
                </a:lnTo>
                <a:lnTo>
                  <a:pt x="5231" y="289729"/>
                </a:lnTo>
                <a:cubicBezTo>
                  <a:pt x="39066" y="124381"/>
                  <a:pt x="185366" y="0"/>
                  <a:pt x="360716" y="0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" name="TextBox 4"/>
          <p:cNvSpPr txBox="1"/>
          <p:nvPr/>
        </p:nvSpPr>
        <p:spPr>
          <a:xfrm>
            <a:off x="1181100" y="2396643"/>
            <a:ext cx="5211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산학</a:t>
            </a:r>
            <a:r>
              <a:rPr lang="en-US" altLang="ko-KR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SW</a:t>
            </a:r>
            <a:r>
              <a:rPr lang="ko-KR" altLang="en-US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프로젝트</a:t>
            </a:r>
            <a:endParaRPr lang="en-US" altLang="ko-KR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BA62A29-8A8E-44D5-A53C-7691D91D961E}"/>
              </a:ext>
            </a:extLst>
          </p:cNvPr>
          <p:cNvSpPr txBox="1"/>
          <p:nvPr/>
        </p:nvSpPr>
        <p:spPr>
          <a:xfrm>
            <a:off x="1181100" y="3936863"/>
            <a:ext cx="40410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hlinkClick r:id="rId5"/>
              </a:rPr>
              <a:t>20194535/</a:t>
            </a:r>
            <a:r>
              <a:rPr lang="en-US" altLang="ko-KR" dirty="0" err="1">
                <a:hlinkClick r:id="rId5"/>
              </a:rPr>
              <a:t>sw_project</a:t>
            </a:r>
            <a:r>
              <a:rPr lang="en-US" altLang="ko-KR" dirty="0">
                <a:hlinkClick r:id="rId5"/>
              </a:rPr>
              <a:t> (github.com)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73299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dirty="0"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목차</a:t>
            </a:r>
            <a:endParaRPr lang="en-US" dirty="0"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9408D6F-A633-41FE-A651-C1A09416C027}"/>
              </a:ext>
            </a:extLst>
          </p:cNvPr>
          <p:cNvSpPr txBox="1"/>
          <p:nvPr/>
        </p:nvSpPr>
        <p:spPr>
          <a:xfrm>
            <a:off x="1902333" y="2139029"/>
            <a:ext cx="1644888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수행내용</a:t>
            </a:r>
            <a:endParaRPr lang="en-US" sz="2000" dirty="0">
              <a:latin typeface="경기천년제목 Medium" panose="02020603020101020101" pitchFamily="18" charset="-127"/>
              <a:ea typeface="경기천년제목 Medium" panose="02020603020101020101" pitchFamily="18" charset="-127"/>
              <a:cs typeface="Calibri" panose="020F05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8062572-B6AA-40F7-A46E-A521A3CA3706}"/>
              </a:ext>
            </a:extLst>
          </p:cNvPr>
          <p:cNvSpPr txBox="1"/>
          <p:nvPr/>
        </p:nvSpPr>
        <p:spPr>
          <a:xfrm>
            <a:off x="6096000" y="2167873"/>
            <a:ext cx="1644888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사용 </a:t>
            </a:r>
            <a:r>
              <a:rPr lang="en-US" altLang="ko-KR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SW</a:t>
            </a:r>
            <a:endParaRPr lang="en-US" sz="2000" dirty="0">
              <a:latin typeface="경기천년제목 Medium" panose="02020603020101020101" pitchFamily="18" charset="-127"/>
              <a:ea typeface="경기천년제목 Medium" panose="02020603020101020101" pitchFamily="18" charset="-127"/>
              <a:cs typeface="Calibri" panose="020F05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D721FF9-4576-4865-B7E5-4485982AF1B4}"/>
              </a:ext>
            </a:extLst>
          </p:cNvPr>
          <p:cNvSpPr txBox="1"/>
          <p:nvPr/>
        </p:nvSpPr>
        <p:spPr>
          <a:xfrm>
            <a:off x="3816283" y="5426808"/>
            <a:ext cx="1644888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사용 </a:t>
            </a:r>
            <a:r>
              <a:rPr lang="en-US" altLang="ko-KR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HW</a:t>
            </a:r>
            <a:endParaRPr lang="en-US" sz="2000" dirty="0">
              <a:latin typeface="경기천년제목 Medium" panose="02020603020101020101" pitchFamily="18" charset="-127"/>
              <a:ea typeface="경기천년제목 Medium" panose="02020603020101020101" pitchFamily="18" charset="-127"/>
              <a:cs typeface="Calibri" panose="020F050202020403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C59ABD4-C6E2-4D19-AC55-747640E54932}"/>
              </a:ext>
            </a:extLst>
          </p:cNvPr>
          <p:cNvGrpSpPr/>
          <p:nvPr/>
        </p:nvGrpSpPr>
        <p:grpSpPr>
          <a:xfrm>
            <a:off x="0" y="2723685"/>
            <a:ext cx="12192000" cy="2210651"/>
            <a:chOff x="0" y="2785967"/>
            <a:chExt cx="12192000" cy="2210651"/>
          </a:xfrm>
        </p:grpSpPr>
        <p:pic>
          <p:nvPicPr>
            <p:cNvPr id="45" name="Picture 44" descr="A person standing in front of a computer&#10;&#10;Description automatically generated">
              <a:extLst>
                <a:ext uri="{FF2B5EF4-FFF2-40B4-BE49-F238E27FC236}">
                  <a16:creationId xmlns:a16="http://schemas.microsoft.com/office/drawing/2014/main" id="{E877992A-BA37-4EB9-8890-01EDF1A03D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2788247"/>
              <a:ext cx="12192000" cy="2208371"/>
            </a:xfrm>
            <a:prstGeom prst="rect">
              <a:avLst/>
            </a:prstGeom>
          </p:spPr>
        </p:pic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5015278-09AE-4A27-9452-6A9A9AE52F87}"/>
                </a:ext>
              </a:extLst>
            </p:cNvPr>
            <p:cNvSpPr/>
            <p:nvPr/>
          </p:nvSpPr>
          <p:spPr>
            <a:xfrm>
              <a:off x="0" y="2785967"/>
              <a:ext cx="12192000" cy="2208371"/>
            </a:xfrm>
            <a:prstGeom prst="rect">
              <a:avLst/>
            </a:prstGeom>
            <a:solidFill>
              <a:schemeClr val="tx1">
                <a:alpha val="8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4043647-A7EC-414E-B388-4204AD30BD52}"/>
              </a:ext>
            </a:extLst>
          </p:cNvPr>
          <p:cNvGrpSpPr/>
          <p:nvPr/>
        </p:nvGrpSpPr>
        <p:grpSpPr>
          <a:xfrm>
            <a:off x="1902333" y="2510492"/>
            <a:ext cx="1644888" cy="957794"/>
            <a:chOff x="822206" y="2615634"/>
            <a:chExt cx="1644888" cy="957794"/>
          </a:xfrm>
        </p:grpSpPr>
        <p:sp>
          <p:nvSpPr>
            <p:cNvPr id="11" name="Rectangle: Top Corners Rounded 10">
              <a:extLst>
                <a:ext uri="{FF2B5EF4-FFF2-40B4-BE49-F238E27FC236}">
                  <a16:creationId xmlns:a16="http://schemas.microsoft.com/office/drawing/2014/main" id="{4562B3FC-40BD-4235-A080-25112280BC14}"/>
                </a:ext>
              </a:extLst>
            </p:cNvPr>
            <p:cNvSpPr/>
            <p:nvPr/>
          </p:nvSpPr>
          <p:spPr>
            <a:xfrm flipV="1">
              <a:off x="1297781" y="2615634"/>
              <a:ext cx="693738" cy="957794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100000">
                  <a:srgbClr val="F3BC79"/>
                </a:gs>
                <a:gs pos="0">
                  <a:srgbClr val="E98915"/>
                </a:gs>
                <a:gs pos="38000">
                  <a:srgbClr val="EB9426"/>
                </a:gs>
              </a:gsLst>
              <a:lin ang="5400000" scaled="1"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>
                <a:latin typeface="Century Gothic" panose="020B0502020202020204" pitchFamily="34" charset="0"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23FF79B-A599-4684-A138-CE06D17A6990}"/>
                </a:ext>
              </a:extLst>
            </p:cNvPr>
            <p:cNvCxnSpPr/>
            <p:nvPr/>
          </p:nvCxnSpPr>
          <p:spPr>
            <a:xfrm>
              <a:off x="822206" y="2615634"/>
              <a:ext cx="1644888" cy="0"/>
            </a:xfrm>
            <a:prstGeom prst="line">
              <a:avLst/>
            </a:prstGeom>
            <a:ln>
              <a:solidFill>
                <a:srgbClr val="EB94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D0C7FD4-7B9B-421E-AB85-5992C482E373}"/>
              </a:ext>
            </a:extLst>
          </p:cNvPr>
          <p:cNvGrpSpPr/>
          <p:nvPr/>
        </p:nvGrpSpPr>
        <p:grpSpPr>
          <a:xfrm>
            <a:off x="6096000" y="2539336"/>
            <a:ext cx="1644888" cy="957794"/>
            <a:chOff x="822206" y="2615634"/>
            <a:chExt cx="1644888" cy="957794"/>
          </a:xfrm>
        </p:grpSpPr>
        <p:sp>
          <p:nvSpPr>
            <p:cNvPr id="56" name="Rectangle: Top Corners Rounded 55">
              <a:extLst>
                <a:ext uri="{FF2B5EF4-FFF2-40B4-BE49-F238E27FC236}">
                  <a16:creationId xmlns:a16="http://schemas.microsoft.com/office/drawing/2014/main" id="{16266711-D56F-42D1-BBED-F9777874FB2C}"/>
                </a:ext>
              </a:extLst>
            </p:cNvPr>
            <p:cNvSpPr/>
            <p:nvPr/>
          </p:nvSpPr>
          <p:spPr>
            <a:xfrm flipV="1">
              <a:off x="1297781" y="2615634"/>
              <a:ext cx="693738" cy="957794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100000">
                  <a:srgbClr val="F3BC79"/>
                </a:gs>
                <a:gs pos="0">
                  <a:srgbClr val="E98915"/>
                </a:gs>
                <a:gs pos="38000">
                  <a:srgbClr val="EB9426"/>
                </a:gs>
              </a:gsLst>
              <a:lin ang="5400000" scaled="1"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>
                <a:latin typeface="Century Gothic" panose="020B0502020202020204" pitchFamily="34" charset="0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BB2516C1-9CEB-4C55-8645-D4D492D3761E}"/>
                </a:ext>
              </a:extLst>
            </p:cNvPr>
            <p:cNvCxnSpPr/>
            <p:nvPr/>
          </p:nvCxnSpPr>
          <p:spPr>
            <a:xfrm>
              <a:off x="822206" y="2615634"/>
              <a:ext cx="1644888" cy="0"/>
            </a:xfrm>
            <a:prstGeom prst="line">
              <a:avLst/>
            </a:prstGeom>
            <a:ln>
              <a:solidFill>
                <a:srgbClr val="EB94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0C6D944-2504-4880-B301-94331CBFF736}"/>
              </a:ext>
            </a:extLst>
          </p:cNvPr>
          <p:cNvGrpSpPr/>
          <p:nvPr/>
        </p:nvGrpSpPr>
        <p:grpSpPr>
          <a:xfrm flipV="1">
            <a:off x="3823375" y="4407581"/>
            <a:ext cx="1644888" cy="957794"/>
            <a:chOff x="822206" y="2615634"/>
            <a:chExt cx="1644888" cy="957794"/>
          </a:xfrm>
        </p:grpSpPr>
        <p:sp>
          <p:nvSpPr>
            <p:cNvPr id="62" name="Rectangle: Top Corners Rounded 61">
              <a:extLst>
                <a:ext uri="{FF2B5EF4-FFF2-40B4-BE49-F238E27FC236}">
                  <a16:creationId xmlns:a16="http://schemas.microsoft.com/office/drawing/2014/main" id="{F4813B24-A722-4BB4-957E-E5D2CDAC76BD}"/>
                </a:ext>
              </a:extLst>
            </p:cNvPr>
            <p:cNvSpPr/>
            <p:nvPr/>
          </p:nvSpPr>
          <p:spPr>
            <a:xfrm flipV="1">
              <a:off x="1297781" y="2615634"/>
              <a:ext cx="693738" cy="957794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100000">
                  <a:srgbClr val="F3BC79"/>
                </a:gs>
                <a:gs pos="0">
                  <a:srgbClr val="E98915"/>
                </a:gs>
                <a:gs pos="38000">
                  <a:srgbClr val="EB9426"/>
                </a:gs>
              </a:gsLst>
              <a:lin ang="5400000" scaled="1"/>
            </a:gra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>
                <a:latin typeface="Century Gothic" panose="020B0502020202020204" pitchFamily="34" charset="0"/>
              </a:endParaRP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087FC267-B269-4909-9E28-83596559D027}"/>
                </a:ext>
              </a:extLst>
            </p:cNvPr>
            <p:cNvCxnSpPr/>
            <p:nvPr/>
          </p:nvCxnSpPr>
          <p:spPr>
            <a:xfrm>
              <a:off x="822206" y="2615634"/>
              <a:ext cx="1644888" cy="0"/>
            </a:xfrm>
            <a:prstGeom prst="line">
              <a:avLst/>
            </a:prstGeom>
            <a:ln>
              <a:solidFill>
                <a:srgbClr val="EB94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9CEF49AD-3ADE-4F3B-9F7E-20F5C177211B}"/>
              </a:ext>
            </a:extLst>
          </p:cNvPr>
          <p:cNvSpPr/>
          <p:nvPr/>
        </p:nvSpPr>
        <p:spPr>
          <a:xfrm>
            <a:off x="2379974" y="3090255"/>
            <a:ext cx="691672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01</a:t>
            </a:r>
            <a:endParaRPr lang="en-ID" sz="3600" b="1" dirty="0">
              <a:solidFill>
                <a:schemeClr val="bg1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6DB190C-5FA5-4A10-8EFD-07E9E26BACAC}"/>
              </a:ext>
            </a:extLst>
          </p:cNvPr>
          <p:cNvSpPr/>
          <p:nvPr/>
        </p:nvSpPr>
        <p:spPr>
          <a:xfrm>
            <a:off x="6570542" y="3119099"/>
            <a:ext cx="691672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03</a:t>
            </a:r>
            <a:endParaRPr lang="en-ID" sz="3600" b="1" dirty="0">
              <a:solidFill>
                <a:schemeClr val="bg1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B19A1A2-8F42-4FAE-838F-17602E064E6D}"/>
              </a:ext>
            </a:extLst>
          </p:cNvPr>
          <p:cNvSpPr/>
          <p:nvPr/>
        </p:nvSpPr>
        <p:spPr>
          <a:xfrm>
            <a:off x="4301016" y="4099490"/>
            <a:ext cx="691672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02</a:t>
            </a:r>
            <a:endParaRPr lang="en-ID" sz="3600" b="1" dirty="0">
              <a:solidFill>
                <a:schemeClr val="bg1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DED40E2A-A598-43A9-AEC1-3E5F05F063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A7C8F-8F82-4AF2-914D-E820E68E38C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D721FF9-4576-4865-B7E5-4485982AF1B4}"/>
              </a:ext>
            </a:extLst>
          </p:cNvPr>
          <p:cNvSpPr txBox="1"/>
          <p:nvPr/>
        </p:nvSpPr>
        <p:spPr>
          <a:xfrm>
            <a:off x="8217148" y="5397692"/>
            <a:ext cx="1644888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수행결과</a:t>
            </a:r>
            <a:endParaRPr lang="en-US" sz="2000" dirty="0">
              <a:latin typeface="경기천년제목 Medium" panose="02020603020101020101" pitchFamily="18" charset="-127"/>
              <a:ea typeface="경기천년제목 Medium" panose="02020603020101020101" pitchFamily="18" charset="-127"/>
              <a:cs typeface="Calibri" panose="020F0502020204030204" pitchFamily="34" charset="0"/>
            </a:endParaRPr>
          </a:p>
        </p:txBody>
      </p:sp>
      <p:grpSp>
        <p:nvGrpSpPr>
          <p:cNvPr id="25" name="Group 60">
            <a:extLst>
              <a:ext uri="{FF2B5EF4-FFF2-40B4-BE49-F238E27FC236}">
                <a16:creationId xmlns:a16="http://schemas.microsoft.com/office/drawing/2014/main" id="{10C6D944-2504-4880-B301-94331CBFF736}"/>
              </a:ext>
            </a:extLst>
          </p:cNvPr>
          <p:cNvGrpSpPr/>
          <p:nvPr/>
        </p:nvGrpSpPr>
        <p:grpSpPr>
          <a:xfrm flipV="1">
            <a:off x="8224240" y="4378465"/>
            <a:ext cx="1644888" cy="957794"/>
            <a:chOff x="822206" y="2615634"/>
            <a:chExt cx="1644888" cy="957794"/>
          </a:xfrm>
        </p:grpSpPr>
        <p:sp>
          <p:nvSpPr>
            <p:cNvPr id="27" name="Rectangle: Top Corners Rounded 61">
              <a:extLst>
                <a:ext uri="{FF2B5EF4-FFF2-40B4-BE49-F238E27FC236}">
                  <a16:creationId xmlns:a16="http://schemas.microsoft.com/office/drawing/2014/main" id="{F4813B24-A722-4BB4-957E-E5D2CDAC76BD}"/>
                </a:ext>
              </a:extLst>
            </p:cNvPr>
            <p:cNvSpPr/>
            <p:nvPr/>
          </p:nvSpPr>
          <p:spPr>
            <a:xfrm flipV="1">
              <a:off x="1297781" y="2615634"/>
              <a:ext cx="693738" cy="957794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100000">
                  <a:srgbClr val="F3BC79"/>
                </a:gs>
                <a:gs pos="0">
                  <a:srgbClr val="E98915"/>
                </a:gs>
                <a:gs pos="38000">
                  <a:srgbClr val="EB9426"/>
                </a:gs>
              </a:gsLst>
              <a:lin ang="5400000" scaled="1"/>
            </a:gra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>
                <a:latin typeface="Century Gothic" panose="020B0502020202020204" pitchFamily="34" charset="0"/>
              </a:endParaRPr>
            </a:p>
          </p:txBody>
        </p:sp>
        <p:cxnSp>
          <p:nvCxnSpPr>
            <p:cNvPr id="28" name="Straight Connector 62">
              <a:extLst>
                <a:ext uri="{FF2B5EF4-FFF2-40B4-BE49-F238E27FC236}">
                  <a16:creationId xmlns:a16="http://schemas.microsoft.com/office/drawing/2014/main" id="{087FC267-B269-4909-9E28-83596559D027}"/>
                </a:ext>
              </a:extLst>
            </p:cNvPr>
            <p:cNvCxnSpPr/>
            <p:nvPr/>
          </p:nvCxnSpPr>
          <p:spPr>
            <a:xfrm>
              <a:off x="822206" y="2615634"/>
              <a:ext cx="1644888" cy="0"/>
            </a:xfrm>
            <a:prstGeom prst="line">
              <a:avLst/>
            </a:prstGeom>
            <a:ln>
              <a:solidFill>
                <a:srgbClr val="EB94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71">
            <a:extLst>
              <a:ext uri="{FF2B5EF4-FFF2-40B4-BE49-F238E27FC236}">
                <a16:creationId xmlns:a16="http://schemas.microsoft.com/office/drawing/2014/main" id="{BB19A1A2-8F42-4FAE-838F-17602E064E6D}"/>
              </a:ext>
            </a:extLst>
          </p:cNvPr>
          <p:cNvSpPr/>
          <p:nvPr/>
        </p:nvSpPr>
        <p:spPr>
          <a:xfrm>
            <a:off x="8701881" y="4070374"/>
            <a:ext cx="691672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04</a:t>
            </a:r>
            <a:endParaRPr lang="en-ID" sz="3600" b="1" dirty="0">
              <a:solidFill>
                <a:schemeClr val="bg1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07555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around a table in a room&#10;&#10;Description automatically generated with low confidence">
            <a:extLst>
              <a:ext uri="{FF2B5EF4-FFF2-40B4-BE49-F238E27FC236}">
                <a16:creationId xmlns:a16="http://schemas.microsoft.com/office/drawing/2014/main" id="{D89096B3-4815-4AFA-A3AE-033BB572A3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3CEF248A-EE26-4B23-87C7-1A0D621217F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170572 w 12192000"/>
              <a:gd name="connsiteY1" fmla="*/ 0 h 6858000"/>
              <a:gd name="connsiteX2" fmla="*/ 5280275 w 12192000"/>
              <a:gd name="connsiteY2" fmla="*/ 82034 h 6858000"/>
              <a:gd name="connsiteX3" fmla="*/ 6096001 w 12192000"/>
              <a:gd name="connsiteY3" fmla="*/ 331204 h 6858000"/>
              <a:gd name="connsiteX4" fmla="*/ 6911727 w 12192000"/>
              <a:gd name="connsiteY4" fmla="*/ 82034 h 6858000"/>
              <a:gd name="connsiteX5" fmla="*/ 7021429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8899357 w 12192000"/>
              <a:gd name="connsiteY8" fmla="*/ 6858000 h 6858000"/>
              <a:gd name="connsiteX9" fmla="*/ 8567040 w 12192000"/>
              <a:gd name="connsiteY9" fmla="*/ 6609498 h 6858000"/>
              <a:gd name="connsiteX10" fmla="*/ 6096000 w 12192000"/>
              <a:gd name="connsiteY10" fmla="*/ 5854699 h 6858000"/>
              <a:gd name="connsiteX11" fmla="*/ 3624960 w 12192000"/>
              <a:gd name="connsiteY11" fmla="*/ 6609498 h 6858000"/>
              <a:gd name="connsiteX12" fmla="*/ 329264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170572" y="0"/>
                </a:lnTo>
                <a:lnTo>
                  <a:pt x="5280275" y="82034"/>
                </a:lnTo>
                <a:cubicBezTo>
                  <a:pt x="5513129" y="239347"/>
                  <a:pt x="5793837" y="331204"/>
                  <a:pt x="6096001" y="331204"/>
                </a:cubicBezTo>
                <a:cubicBezTo>
                  <a:pt x="6398164" y="331204"/>
                  <a:pt x="6678873" y="239347"/>
                  <a:pt x="6911727" y="82034"/>
                </a:cubicBezTo>
                <a:lnTo>
                  <a:pt x="7021429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899357" y="6858000"/>
                </a:lnTo>
                <a:lnTo>
                  <a:pt x="8567040" y="6609498"/>
                </a:lnTo>
                <a:cubicBezTo>
                  <a:pt x="7861668" y="6132957"/>
                  <a:pt x="7011330" y="5854699"/>
                  <a:pt x="6096000" y="5854699"/>
                </a:cubicBezTo>
                <a:cubicBezTo>
                  <a:pt x="5180671" y="5854699"/>
                  <a:pt x="4330333" y="6132957"/>
                  <a:pt x="3624960" y="6609498"/>
                </a:cubicBezTo>
                <a:lnTo>
                  <a:pt x="329264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A940CA9-CB4C-40FD-B152-FD57C62AD5C4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9DC0690-E35F-4DA1-90C1-A93EB1164846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4" name="Partial Circle 13">
            <a:extLst>
              <a:ext uri="{FF2B5EF4-FFF2-40B4-BE49-F238E27FC236}">
                <a16:creationId xmlns:a16="http://schemas.microsoft.com/office/drawing/2014/main" id="{45540C33-6867-4B5D-AEA8-63A574A0011A}"/>
              </a:ext>
            </a:extLst>
          </p:cNvPr>
          <p:cNvSpPr/>
          <p:nvPr/>
        </p:nvSpPr>
        <p:spPr>
          <a:xfrm>
            <a:off x="1964665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Partial Circle 13">
            <a:extLst>
              <a:ext uri="{FF2B5EF4-FFF2-40B4-BE49-F238E27FC236}">
                <a16:creationId xmlns:a16="http://schemas.microsoft.com/office/drawing/2014/main" id="{56D789CF-8891-4CE4-9AA6-D14A1F2B513F}"/>
              </a:ext>
            </a:extLst>
          </p:cNvPr>
          <p:cNvSpPr/>
          <p:nvPr/>
        </p:nvSpPr>
        <p:spPr>
          <a:xfrm flipH="1">
            <a:off x="7733734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FD24EAB-579C-4F58-A41C-D7538CE58088}"/>
              </a:ext>
            </a:extLst>
          </p:cNvPr>
          <p:cNvSpPr/>
          <p:nvPr/>
        </p:nvSpPr>
        <p:spPr>
          <a:xfrm>
            <a:off x="2668922" y="5398411"/>
            <a:ext cx="6789178" cy="1432704"/>
          </a:xfrm>
          <a:custGeom>
            <a:avLst/>
            <a:gdLst>
              <a:gd name="connsiteX0" fmla="*/ 27397 w 6789178"/>
              <a:gd name="connsiteY0" fmla="*/ 1390216 h 1432704"/>
              <a:gd name="connsiteX1" fmla="*/ 35759 w 6789178"/>
              <a:gd name="connsiteY1" fmla="*/ 1393680 h 1432704"/>
              <a:gd name="connsiteX2" fmla="*/ 42454 w 6789178"/>
              <a:gd name="connsiteY2" fmla="*/ 1409844 h 1432704"/>
              <a:gd name="connsiteX3" fmla="*/ 19594 w 6789178"/>
              <a:gd name="connsiteY3" fmla="*/ 1432704 h 1432704"/>
              <a:gd name="connsiteX4" fmla="*/ 3430 w 6789178"/>
              <a:gd name="connsiteY4" fmla="*/ 1426009 h 1432704"/>
              <a:gd name="connsiteX5" fmla="*/ 0 w 6789178"/>
              <a:gd name="connsiteY5" fmla="*/ 1417729 h 1432704"/>
              <a:gd name="connsiteX6" fmla="*/ 14582 w 6789178"/>
              <a:gd name="connsiteY6" fmla="*/ 1402434 h 1432704"/>
              <a:gd name="connsiteX7" fmla="*/ 6766318 w 6789178"/>
              <a:gd name="connsiteY7" fmla="*/ 1386984 h 1432704"/>
              <a:gd name="connsiteX8" fmla="*/ 6789178 w 6789178"/>
              <a:gd name="connsiteY8" fmla="*/ 1409844 h 1432704"/>
              <a:gd name="connsiteX9" fmla="*/ 6766318 w 6789178"/>
              <a:gd name="connsiteY9" fmla="*/ 1432704 h 1432704"/>
              <a:gd name="connsiteX10" fmla="*/ 6743458 w 6789178"/>
              <a:gd name="connsiteY10" fmla="*/ 1409844 h 1432704"/>
              <a:gd name="connsiteX11" fmla="*/ 6766318 w 6789178"/>
              <a:gd name="connsiteY11" fmla="*/ 1386984 h 1432704"/>
              <a:gd name="connsiteX12" fmla="*/ 6579373 w 6789178"/>
              <a:gd name="connsiteY12" fmla="*/ 1386984 h 1432704"/>
              <a:gd name="connsiteX13" fmla="*/ 6602233 w 6789178"/>
              <a:gd name="connsiteY13" fmla="*/ 1409844 h 1432704"/>
              <a:gd name="connsiteX14" fmla="*/ 6579373 w 6789178"/>
              <a:gd name="connsiteY14" fmla="*/ 1432704 h 1432704"/>
              <a:gd name="connsiteX15" fmla="*/ 6556513 w 6789178"/>
              <a:gd name="connsiteY15" fmla="*/ 1409844 h 1432704"/>
              <a:gd name="connsiteX16" fmla="*/ 6579373 w 6789178"/>
              <a:gd name="connsiteY16" fmla="*/ 1386984 h 1432704"/>
              <a:gd name="connsiteX17" fmla="*/ 6392428 w 6789178"/>
              <a:gd name="connsiteY17" fmla="*/ 1386984 h 1432704"/>
              <a:gd name="connsiteX18" fmla="*/ 6415288 w 6789178"/>
              <a:gd name="connsiteY18" fmla="*/ 1409844 h 1432704"/>
              <a:gd name="connsiteX19" fmla="*/ 6392428 w 6789178"/>
              <a:gd name="connsiteY19" fmla="*/ 1432704 h 1432704"/>
              <a:gd name="connsiteX20" fmla="*/ 6369568 w 6789178"/>
              <a:gd name="connsiteY20" fmla="*/ 1409844 h 1432704"/>
              <a:gd name="connsiteX21" fmla="*/ 6392428 w 6789178"/>
              <a:gd name="connsiteY21" fmla="*/ 1386984 h 1432704"/>
              <a:gd name="connsiteX22" fmla="*/ 6205483 w 6789178"/>
              <a:gd name="connsiteY22" fmla="*/ 1386984 h 1432704"/>
              <a:gd name="connsiteX23" fmla="*/ 6228343 w 6789178"/>
              <a:gd name="connsiteY23" fmla="*/ 1409844 h 1432704"/>
              <a:gd name="connsiteX24" fmla="*/ 6205483 w 6789178"/>
              <a:gd name="connsiteY24" fmla="*/ 1432704 h 1432704"/>
              <a:gd name="connsiteX25" fmla="*/ 6182623 w 6789178"/>
              <a:gd name="connsiteY25" fmla="*/ 1409844 h 1432704"/>
              <a:gd name="connsiteX26" fmla="*/ 6205483 w 6789178"/>
              <a:gd name="connsiteY26" fmla="*/ 1386984 h 1432704"/>
              <a:gd name="connsiteX27" fmla="*/ 580429 w 6789178"/>
              <a:gd name="connsiteY27" fmla="*/ 1386984 h 1432704"/>
              <a:gd name="connsiteX28" fmla="*/ 603289 w 6789178"/>
              <a:gd name="connsiteY28" fmla="*/ 1409844 h 1432704"/>
              <a:gd name="connsiteX29" fmla="*/ 580429 w 6789178"/>
              <a:gd name="connsiteY29" fmla="*/ 1432704 h 1432704"/>
              <a:gd name="connsiteX30" fmla="*/ 557569 w 6789178"/>
              <a:gd name="connsiteY30" fmla="*/ 1409844 h 1432704"/>
              <a:gd name="connsiteX31" fmla="*/ 580429 w 6789178"/>
              <a:gd name="connsiteY31" fmla="*/ 1386984 h 1432704"/>
              <a:gd name="connsiteX32" fmla="*/ 393484 w 6789178"/>
              <a:gd name="connsiteY32" fmla="*/ 1386984 h 1432704"/>
              <a:gd name="connsiteX33" fmla="*/ 416344 w 6789178"/>
              <a:gd name="connsiteY33" fmla="*/ 1409844 h 1432704"/>
              <a:gd name="connsiteX34" fmla="*/ 393484 w 6789178"/>
              <a:gd name="connsiteY34" fmla="*/ 1432704 h 1432704"/>
              <a:gd name="connsiteX35" fmla="*/ 370624 w 6789178"/>
              <a:gd name="connsiteY35" fmla="*/ 1409844 h 1432704"/>
              <a:gd name="connsiteX36" fmla="*/ 393484 w 6789178"/>
              <a:gd name="connsiteY36" fmla="*/ 1386984 h 1432704"/>
              <a:gd name="connsiteX37" fmla="*/ 206539 w 6789178"/>
              <a:gd name="connsiteY37" fmla="*/ 1386984 h 1432704"/>
              <a:gd name="connsiteX38" fmla="*/ 229399 w 6789178"/>
              <a:gd name="connsiteY38" fmla="*/ 1409844 h 1432704"/>
              <a:gd name="connsiteX39" fmla="*/ 206539 w 6789178"/>
              <a:gd name="connsiteY39" fmla="*/ 1432704 h 1432704"/>
              <a:gd name="connsiteX40" fmla="*/ 183679 w 6789178"/>
              <a:gd name="connsiteY40" fmla="*/ 1409844 h 1432704"/>
              <a:gd name="connsiteX41" fmla="*/ 206539 w 6789178"/>
              <a:gd name="connsiteY41" fmla="*/ 1386984 h 1432704"/>
              <a:gd name="connsiteX42" fmla="*/ 212734 w 6789178"/>
              <a:gd name="connsiteY42" fmla="*/ 1216177 h 1432704"/>
              <a:gd name="connsiteX43" fmla="*/ 222704 w 6789178"/>
              <a:gd name="connsiteY43" fmla="*/ 1220307 h 1432704"/>
              <a:gd name="connsiteX44" fmla="*/ 229399 w 6789178"/>
              <a:gd name="connsiteY44" fmla="*/ 1236471 h 1432704"/>
              <a:gd name="connsiteX45" fmla="*/ 206539 w 6789178"/>
              <a:gd name="connsiteY45" fmla="*/ 1259331 h 1432704"/>
              <a:gd name="connsiteX46" fmla="*/ 190375 w 6789178"/>
              <a:gd name="connsiteY46" fmla="*/ 1252636 h 1432704"/>
              <a:gd name="connsiteX47" fmla="*/ 185165 w 6789178"/>
              <a:gd name="connsiteY47" fmla="*/ 1240059 h 1432704"/>
              <a:gd name="connsiteX48" fmla="*/ 950606 w 6789178"/>
              <a:gd name="connsiteY48" fmla="*/ 1215149 h 1432704"/>
              <a:gd name="connsiteX49" fmla="*/ 935662 w 6789178"/>
              <a:gd name="connsiteY49" fmla="*/ 1226324 h 1432704"/>
              <a:gd name="connsiteX50" fmla="*/ 938155 w 6789178"/>
              <a:gd name="connsiteY50" fmla="*/ 1220307 h 1432704"/>
              <a:gd name="connsiteX51" fmla="*/ 6579373 w 6789178"/>
              <a:gd name="connsiteY51" fmla="*/ 1213611 h 1432704"/>
              <a:gd name="connsiteX52" fmla="*/ 6602233 w 6789178"/>
              <a:gd name="connsiteY52" fmla="*/ 1236471 h 1432704"/>
              <a:gd name="connsiteX53" fmla="*/ 6579373 w 6789178"/>
              <a:gd name="connsiteY53" fmla="*/ 1259331 h 1432704"/>
              <a:gd name="connsiteX54" fmla="*/ 6556513 w 6789178"/>
              <a:gd name="connsiteY54" fmla="*/ 1236471 h 1432704"/>
              <a:gd name="connsiteX55" fmla="*/ 6579373 w 6789178"/>
              <a:gd name="connsiteY55" fmla="*/ 1213611 h 1432704"/>
              <a:gd name="connsiteX56" fmla="*/ 6392428 w 6789178"/>
              <a:gd name="connsiteY56" fmla="*/ 1213611 h 1432704"/>
              <a:gd name="connsiteX57" fmla="*/ 6415288 w 6789178"/>
              <a:gd name="connsiteY57" fmla="*/ 1236471 h 1432704"/>
              <a:gd name="connsiteX58" fmla="*/ 6392428 w 6789178"/>
              <a:gd name="connsiteY58" fmla="*/ 1259331 h 1432704"/>
              <a:gd name="connsiteX59" fmla="*/ 6369568 w 6789178"/>
              <a:gd name="connsiteY59" fmla="*/ 1236471 h 1432704"/>
              <a:gd name="connsiteX60" fmla="*/ 6392428 w 6789178"/>
              <a:gd name="connsiteY60" fmla="*/ 1213611 h 1432704"/>
              <a:gd name="connsiteX61" fmla="*/ 6205483 w 6789178"/>
              <a:gd name="connsiteY61" fmla="*/ 1213611 h 1432704"/>
              <a:gd name="connsiteX62" fmla="*/ 6228343 w 6789178"/>
              <a:gd name="connsiteY62" fmla="*/ 1236471 h 1432704"/>
              <a:gd name="connsiteX63" fmla="*/ 6205483 w 6789178"/>
              <a:gd name="connsiteY63" fmla="*/ 1259331 h 1432704"/>
              <a:gd name="connsiteX64" fmla="*/ 6182623 w 6789178"/>
              <a:gd name="connsiteY64" fmla="*/ 1236471 h 1432704"/>
              <a:gd name="connsiteX65" fmla="*/ 6205483 w 6789178"/>
              <a:gd name="connsiteY65" fmla="*/ 1213611 h 1432704"/>
              <a:gd name="connsiteX66" fmla="*/ 6018538 w 6789178"/>
              <a:gd name="connsiteY66" fmla="*/ 1213611 h 1432704"/>
              <a:gd name="connsiteX67" fmla="*/ 6041398 w 6789178"/>
              <a:gd name="connsiteY67" fmla="*/ 1236471 h 1432704"/>
              <a:gd name="connsiteX68" fmla="*/ 6018538 w 6789178"/>
              <a:gd name="connsiteY68" fmla="*/ 1259331 h 1432704"/>
              <a:gd name="connsiteX69" fmla="*/ 5995678 w 6789178"/>
              <a:gd name="connsiteY69" fmla="*/ 1236471 h 1432704"/>
              <a:gd name="connsiteX70" fmla="*/ 6018538 w 6789178"/>
              <a:gd name="connsiteY70" fmla="*/ 1213611 h 1432704"/>
              <a:gd name="connsiteX71" fmla="*/ 767374 w 6789178"/>
              <a:gd name="connsiteY71" fmla="*/ 1213611 h 1432704"/>
              <a:gd name="connsiteX72" fmla="*/ 790234 w 6789178"/>
              <a:gd name="connsiteY72" fmla="*/ 1236471 h 1432704"/>
              <a:gd name="connsiteX73" fmla="*/ 767374 w 6789178"/>
              <a:gd name="connsiteY73" fmla="*/ 1259331 h 1432704"/>
              <a:gd name="connsiteX74" fmla="*/ 744514 w 6789178"/>
              <a:gd name="connsiteY74" fmla="*/ 1236471 h 1432704"/>
              <a:gd name="connsiteX75" fmla="*/ 767374 w 6789178"/>
              <a:gd name="connsiteY75" fmla="*/ 1213611 h 1432704"/>
              <a:gd name="connsiteX76" fmla="*/ 580429 w 6789178"/>
              <a:gd name="connsiteY76" fmla="*/ 1213611 h 1432704"/>
              <a:gd name="connsiteX77" fmla="*/ 603289 w 6789178"/>
              <a:gd name="connsiteY77" fmla="*/ 1236471 h 1432704"/>
              <a:gd name="connsiteX78" fmla="*/ 580429 w 6789178"/>
              <a:gd name="connsiteY78" fmla="*/ 1259331 h 1432704"/>
              <a:gd name="connsiteX79" fmla="*/ 557569 w 6789178"/>
              <a:gd name="connsiteY79" fmla="*/ 1236471 h 1432704"/>
              <a:gd name="connsiteX80" fmla="*/ 580429 w 6789178"/>
              <a:gd name="connsiteY80" fmla="*/ 1213611 h 1432704"/>
              <a:gd name="connsiteX81" fmla="*/ 393484 w 6789178"/>
              <a:gd name="connsiteY81" fmla="*/ 1213611 h 1432704"/>
              <a:gd name="connsiteX82" fmla="*/ 416344 w 6789178"/>
              <a:gd name="connsiteY82" fmla="*/ 1236471 h 1432704"/>
              <a:gd name="connsiteX83" fmla="*/ 393484 w 6789178"/>
              <a:gd name="connsiteY83" fmla="*/ 1259331 h 1432704"/>
              <a:gd name="connsiteX84" fmla="*/ 370624 w 6789178"/>
              <a:gd name="connsiteY84" fmla="*/ 1236471 h 1432704"/>
              <a:gd name="connsiteX85" fmla="*/ 393484 w 6789178"/>
              <a:gd name="connsiteY85" fmla="*/ 1213611 h 1432704"/>
              <a:gd name="connsiteX86" fmla="*/ 410549 w 6789178"/>
              <a:gd name="connsiteY86" fmla="*/ 1049107 h 1432704"/>
              <a:gd name="connsiteX87" fmla="*/ 416344 w 6789178"/>
              <a:gd name="connsiteY87" fmla="*/ 1063098 h 1432704"/>
              <a:gd name="connsiteX88" fmla="*/ 393484 w 6789178"/>
              <a:gd name="connsiteY88" fmla="*/ 1085958 h 1432704"/>
              <a:gd name="connsiteX89" fmla="*/ 377320 w 6789178"/>
              <a:gd name="connsiteY89" fmla="*/ 1079263 h 1432704"/>
              <a:gd name="connsiteX90" fmla="*/ 376056 w 6789178"/>
              <a:gd name="connsiteY90" fmla="*/ 1076212 h 1432704"/>
              <a:gd name="connsiteX91" fmla="*/ 6392428 w 6789178"/>
              <a:gd name="connsiteY91" fmla="*/ 1040238 h 1432704"/>
              <a:gd name="connsiteX92" fmla="*/ 6415288 w 6789178"/>
              <a:gd name="connsiteY92" fmla="*/ 1063098 h 1432704"/>
              <a:gd name="connsiteX93" fmla="*/ 6392428 w 6789178"/>
              <a:gd name="connsiteY93" fmla="*/ 1085958 h 1432704"/>
              <a:gd name="connsiteX94" fmla="*/ 6369568 w 6789178"/>
              <a:gd name="connsiteY94" fmla="*/ 1063098 h 1432704"/>
              <a:gd name="connsiteX95" fmla="*/ 6392428 w 6789178"/>
              <a:gd name="connsiteY95" fmla="*/ 1040238 h 1432704"/>
              <a:gd name="connsiteX96" fmla="*/ 6205483 w 6789178"/>
              <a:gd name="connsiteY96" fmla="*/ 1040238 h 1432704"/>
              <a:gd name="connsiteX97" fmla="*/ 6228343 w 6789178"/>
              <a:gd name="connsiteY97" fmla="*/ 1063098 h 1432704"/>
              <a:gd name="connsiteX98" fmla="*/ 6205483 w 6789178"/>
              <a:gd name="connsiteY98" fmla="*/ 1085958 h 1432704"/>
              <a:gd name="connsiteX99" fmla="*/ 6182623 w 6789178"/>
              <a:gd name="connsiteY99" fmla="*/ 1063098 h 1432704"/>
              <a:gd name="connsiteX100" fmla="*/ 6205483 w 6789178"/>
              <a:gd name="connsiteY100" fmla="*/ 1040238 h 1432704"/>
              <a:gd name="connsiteX101" fmla="*/ 6018538 w 6789178"/>
              <a:gd name="connsiteY101" fmla="*/ 1040238 h 1432704"/>
              <a:gd name="connsiteX102" fmla="*/ 6041398 w 6789178"/>
              <a:gd name="connsiteY102" fmla="*/ 1063098 h 1432704"/>
              <a:gd name="connsiteX103" fmla="*/ 6018538 w 6789178"/>
              <a:gd name="connsiteY103" fmla="*/ 1085958 h 1432704"/>
              <a:gd name="connsiteX104" fmla="*/ 5995678 w 6789178"/>
              <a:gd name="connsiteY104" fmla="*/ 1063098 h 1432704"/>
              <a:gd name="connsiteX105" fmla="*/ 6018538 w 6789178"/>
              <a:gd name="connsiteY105" fmla="*/ 1040238 h 1432704"/>
              <a:gd name="connsiteX106" fmla="*/ 5831593 w 6789178"/>
              <a:gd name="connsiteY106" fmla="*/ 1040238 h 1432704"/>
              <a:gd name="connsiteX107" fmla="*/ 5854453 w 6789178"/>
              <a:gd name="connsiteY107" fmla="*/ 1063098 h 1432704"/>
              <a:gd name="connsiteX108" fmla="*/ 5831593 w 6789178"/>
              <a:gd name="connsiteY108" fmla="*/ 1085958 h 1432704"/>
              <a:gd name="connsiteX109" fmla="*/ 5808733 w 6789178"/>
              <a:gd name="connsiteY109" fmla="*/ 1063098 h 1432704"/>
              <a:gd name="connsiteX110" fmla="*/ 5831593 w 6789178"/>
              <a:gd name="connsiteY110" fmla="*/ 1040238 h 1432704"/>
              <a:gd name="connsiteX111" fmla="*/ 5644648 w 6789178"/>
              <a:gd name="connsiteY111" fmla="*/ 1040238 h 1432704"/>
              <a:gd name="connsiteX112" fmla="*/ 5667508 w 6789178"/>
              <a:gd name="connsiteY112" fmla="*/ 1063098 h 1432704"/>
              <a:gd name="connsiteX113" fmla="*/ 5666177 w 6789178"/>
              <a:gd name="connsiteY113" fmla="*/ 1066311 h 1432704"/>
              <a:gd name="connsiteX114" fmla="*/ 5632481 w 6789178"/>
              <a:gd name="connsiteY114" fmla="*/ 1045278 h 1432704"/>
              <a:gd name="connsiteX115" fmla="*/ 1141264 w 6789178"/>
              <a:gd name="connsiteY115" fmla="*/ 1040238 h 1432704"/>
              <a:gd name="connsiteX116" fmla="*/ 1164124 w 6789178"/>
              <a:gd name="connsiteY116" fmla="*/ 1063098 h 1432704"/>
              <a:gd name="connsiteX117" fmla="*/ 1141264 w 6789178"/>
              <a:gd name="connsiteY117" fmla="*/ 1085958 h 1432704"/>
              <a:gd name="connsiteX118" fmla="*/ 1118404 w 6789178"/>
              <a:gd name="connsiteY118" fmla="*/ 1063098 h 1432704"/>
              <a:gd name="connsiteX119" fmla="*/ 1141264 w 6789178"/>
              <a:gd name="connsiteY119" fmla="*/ 1040238 h 1432704"/>
              <a:gd name="connsiteX120" fmla="*/ 954319 w 6789178"/>
              <a:gd name="connsiteY120" fmla="*/ 1040238 h 1432704"/>
              <a:gd name="connsiteX121" fmla="*/ 977179 w 6789178"/>
              <a:gd name="connsiteY121" fmla="*/ 1063098 h 1432704"/>
              <a:gd name="connsiteX122" fmla="*/ 954319 w 6789178"/>
              <a:gd name="connsiteY122" fmla="*/ 1085958 h 1432704"/>
              <a:gd name="connsiteX123" fmla="*/ 931459 w 6789178"/>
              <a:gd name="connsiteY123" fmla="*/ 1063098 h 1432704"/>
              <a:gd name="connsiteX124" fmla="*/ 954319 w 6789178"/>
              <a:gd name="connsiteY124" fmla="*/ 1040238 h 1432704"/>
              <a:gd name="connsiteX125" fmla="*/ 767374 w 6789178"/>
              <a:gd name="connsiteY125" fmla="*/ 1040238 h 1432704"/>
              <a:gd name="connsiteX126" fmla="*/ 790234 w 6789178"/>
              <a:gd name="connsiteY126" fmla="*/ 1063098 h 1432704"/>
              <a:gd name="connsiteX127" fmla="*/ 767374 w 6789178"/>
              <a:gd name="connsiteY127" fmla="*/ 1085958 h 1432704"/>
              <a:gd name="connsiteX128" fmla="*/ 744514 w 6789178"/>
              <a:gd name="connsiteY128" fmla="*/ 1063098 h 1432704"/>
              <a:gd name="connsiteX129" fmla="*/ 767374 w 6789178"/>
              <a:gd name="connsiteY129" fmla="*/ 1040238 h 1432704"/>
              <a:gd name="connsiteX130" fmla="*/ 580429 w 6789178"/>
              <a:gd name="connsiteY130" fmla="*/ 1040238 h 1432704"/>
              <a:gd name="connsiteX131" fmla="*/ 603289 w 6789178"/>
              <a:gd name="connsiteY131" fmla="*/ 1063098 h 1432704"/>
              <a:gd name="connsiteX132" fmla="*/ 580429 w 6789178"/>
              <a:gd name="connsiteY132" fmla="*/ 1085958 h 1432704"/>
              <a:gd name="connsiteX133" fmla="*/ 557569 w 6789178"/>
              <a:gd name="connsiteY133" fmla="*/ 1063098 h 1432704"/>
              <a:gd name="connsiteX134" fmla="*/ 580429 w 6789178"/>
              <a:gd name="connsiteY134" fmla="*/ 1040238 h 1432704"/>
              <a:gd name="connsiteX135" fmla="*/ 6202585 w 6789178"/>
              <a:gd name="connsiteY135" fmla="*/ 868066 h 1432704"/>
              <a:gd name="connsiteX136" fmla="*/ 6226380 w 6789178"/>
              <a:gd name="connsiteY136" fmla="*/ 884987 h 1432704"/>
              <a:gd name="connsiteX137" fmla="*/ 6228343 w 6789178"/>
              <a:gd name="connsiteY137" fmla="*/ 889725 h 1432704"/>
              <a:gd name="connsiteX138" fmla="*/ 6205483 w 6789178"/>
              <a:gd name="connsiteY138" fmla="*/ 912585 h 1432704"/>
              <a:gd name="connsiteX139" fmla="*/ 6182623 w 6789178"/>
              <a:gd name="connsiteY139" fmla="*/ 889725 h 1432704"/>
              <a:gd name="connsiteX140" fmla="*/ 6189319 w 6789178"/>
              <a:gd name="connsiteY140" fmla="*/ 873561 h 1432704"/>
              <a:gd name="connsiteX141" fmla="*/ 6018538 w 6789178"/>
              <a:gd name="connsiteY141" fmla="*/ 866865 h 1432704"/>
              <a:gd name="connsiteX142" fmla="*/ 6041398 w 6789178"/>
              <a:gd name="connsiteY142" fmla="*/ 889725 h 1432704"/>
              <a:gd name="connsiteX143" fmla="*/ 6018538 w 6789178"/>
              <a:gd name="connsiteY143" fmla="*/ 912585 h 1432704"/>
              <a:gd name="connsiteX144" fmla="*/ 5995678 w 6789178"/>
              <a:gd name="connsiteY144" fmla="*/ 889725 h 1432704"/>
              <a:gd name="connsiteX145" fmla="*/ 6018538 w 6789178"/>
              <a:gd name="connsiteY145" fmla="*/ 866865 h 1432704"/>
              <a:gd name="connsiteX146" fmla="*/ 5831593 w 6789178"/>
              <a:gd name="connsiteY146" fmla="*/ 866865 h 1432704"/>
              <a:gd name="connsiteX147" fmla="*/ 5854453 w 6789178"/>
              <a:gd name="connsiteY147" fmla="*/ 889725 h 1432704"/>
              <a:gd name="connsiteX148" fmla="*/ 5831593 w 6789178"/>
              <a:gd name="connsiteY148" fmla="*/ 912585 h 1432704"/>
              <a:gd name="connsiteX149" fmla="*/ 5808733 w 6789178"/>
              <a:gd name="connsiteY149" fmla="*/ 889725 h 1432704"/>
              <a:gd name="connsiteX150" fmla="*/ 5831593 w 6789178"/>
              <a:gd name="connsiteY150" fmla="*/ 866865 h 1432704"/>
              <a:gd name="connsiteX151" fmla="*/ 5644648 w 6789178"/>
              <a:gd name="connsiteY151" fmla="*/ 866865 h 1432704"/>
              <a:gd name="connsiteX152" fmla="*/ 5667508 w 6789178"/>
              <a:gd name="connsiteY152" fmla="*/ 889725 h 1432704"/>
              <a:gd name="connsiteX153" fmla="*/ 5644648 w 6789178"/>
              <a:gd name="connsiteY153" fmla="*/ 912585 h 1432704"/>
              <a:gd name="connsiteX154" fmla="*/ 5621788 w 6789178"/>
              <a:gd name="connsiteY154" fmla="*/ 889725 h 1432704"/>
              <a:gd name="connsiteX155" fmla="*/ 5644648 w 6789178"/>
              <a:gd name="connsiteY155" fmla="*/ 866865 h 1432704"/>
              <a:gd name="connsiteX156" fmla="*/ 5457703 w 6789178"/>
              <a:gd name="connsiteY156" fmla="*/ 866865 h 1432704"/>
              <a:gd name="connsiteX157" fmla="*/ 5480563 w 6789178"/>
              <a:gd name="connsiteY157" fmla="*/ 889725 h 1432704"/>
              <a:gd name="connsiteX158" fmla="*/ 5457703 w 6789178"/>
              <a:gd name="connsiteY158" fmla="*/ 912585 h 1432704"/>
              <a:gd name="connsiteX159" fmla="*/ 5434843 w 6789178"/>
              <a:gd name="connsiteY159" fmla="*/ 889725 h 1432704"/>
              <a:gd name="connsiteX160" fmla="*/ 5457703 w 6789178"/>
              <a:gd name="connsiteY160" fmla="*/ 866865 h 1432704"/>
              <a:gd name="connsiteX161" fmla="*/ 1515154 w 6789178"/>
              <a:gd name="connsiteY161" fmla="*/ 866865 h 1432704"/>
              <a:gd name="connsiteX162" fmla="*/ 1531319 w 6789178"/>
              <a:gd name="connsiteY162" fmla="*/ 873561 h 1432704"/>
              <a:gd name="connsiteX163" fmla="*/ 1534707 w 6789178"/>
              <a:gd name="connsiteY163" fmla="*/ 881740 h 1432704"/>
              <a:gd name="connsiteX164" fmla="*/ 1510999 w 6789178"/>
              <a:gd name="connsiteY164" fmla="*/ 892109 h 1432704"/>
              <a:gd name="connsiteX165" fmla="*/ 1496459 w 6789178"/>
              <a:gd name="connsiteY165" fmla="*/ 899780 h 1432704"/>
              <a:gd name="connsiteX166" fmla="*/ 1492294 w 6789178"/>
              <a:gd name="connsiteY166" fmla="*/ 889725 h 1432704"/>
              <a:gd name="connsiteX167" fmla="*/ 1515154 w 6789178"/>
              <a:gd name="connsiteY167" fmla="*/ 866865 h 1432704"/>
              <a:gd name="connsiteX168" fmla="*/ 1328209 w 6789178"/>
              <a:gd name="connsiteY168" fmla="*/ 866865 h 1432704"/>
              <a:gd name="connsiteX169" fmla="*/ 1351069 w 6789178"/>
              <a:gd name="connsiteY169" fmla="*/ 889725 h 1432704"/>
              <a:gd name="connsiteX170" fmla="*/ 1328209 w 6789178"/>
              <a:gd name="connsiteY170" fmla="*/ 912585 h 1432704"/>
              <a:gd name="connsiteX171" fmla="*/ 1305349 w 6789178"/>
              <a:gd name="connsiteY171" fmla="*/ 889725 h 1432704"/>
              <a:gd name="connsiteX172" fmla="*/ 1328209 w 6789178"/>
              <a:gd name="connsiteY172" fmla="*/ 866865 h 1432704"/>
              <a:gd name="connsiteX173" fmla="*/ 1141264 w 6789178"/>
              <a:gd name="connsiteY173" fmla="*/ 866865 h 1432704"/>
              <a:gd name="connsiteX174" fmla="*/ 1164124 w 6789178"/>
              <a:gd name="connsiteY174" fmla="*/ 889725 h 1432704"/>
              <a:gd name="connsiteX175" fmla="*/ 1141264 w 6789178"/>
              <a:gd name="connsiteY175" fmla="*/ 912585 h 1432704"/>
              <a:gd name="connsiteX176" fmla="*/ 1118404 w 6789178"/>
              <a:gd name="connsiteY176" fmla="*/ 889725 h 1432704"/>
              <a:gd name="connsiteX177" fmla="*/ 1141264 w 6789178"/>
              <a:gd name="connsiteY177" fmla="*/ 866865 h 1432704"/>
              <a:gd name="connsiteX178" fmla="*/ 954319 w 6789178"/>
              <a:gd name="connsiteY178" fmla="*/ 866865 h 1432704"/>
              <a:gd name="connsiteX179" fmla="*/ 977179 w 6789178"/>
              <a:gd name="connsiteY179" fmla="*/ 889725 h 1432704"/>
              <a:gd name="connsiteX180" fmla="*/ 954319 w 6789178"/>
              <a:gd name="connsiteY180" fmla="*/ 912585 h 1432704"/>
              <a:gd name="connsiteX181" fmla="*/ 931459 w 6789178"/>
              <a:gd name="connsiteY181" fmla="*/ 889725 h 1432704"/>
              <a:gd name="connsiteX182" fmla="*/ 954319 w 6789178"/>
              <a:gd name="connsiteY182" fmla="*/ 866865 h 1432704"/>
              <a:gd name="connsiteX183" fmla="*/ 767374 w 6789178"/>
              <a:gd name="connsiteY183" fmla="*/ 866865 h 1432704"/>
              <a:gd name="connsiteX184" fmla="*/ 790234 w 6789178"/>
              <a:gd name="connsiteY184" fmla="*/ 889725 h 1432704"/>
              <a:gd name="connsiteX185" fmla="*/ 767374 w 6789178"/>
              <a:gd name="connsiteY185" fmla="*/ 912585 h 1432704"/>
              <a:gd name="connsiteX186" fmla="*/ 744514 w 6789178"/>
              <a:gd name="connsiteY186" fmla="*/ 889725 h 1432704"/>
              <a:gd name="connsiteX187" fmla="*/ 767374 w 6789178"/>
              <a:gd name="connsiteY187" fmla="*/ 866865 h 1432704"/>
              <a:gd name="connsiteX188" fmla="*/ 5831593 w 6789178"/>
              <a:gd name="connsiteY188" fmla="*/ 693492 h 1432704"/>
              <a:gd name="connsiteX189" fmla="*/ 5854453 w 6789178"/>
              <a:gd name="connsiteY189" fmla="*/ 716352 h 1432704"/>
              <a:gd name="connsiteX190" fmla="*/ 5831593 w 6789178"/>
              <a:gd name="connsiteY190" fmla="*/ 739212 h 1432704"/>
              <a:gd name="connsiteX191" fmla="*/ 5808733 w 6789178"/>
              <a:gd name="connsiteY191" fmla="*/ 716352 h 1432704"/>
              <a:gd name="connsiteX192" fmla="*/ 5831593 w 6789178"/>
              <a:gd name="connsiteY192" fmla="*/ 693492 h 1432704"/>
              <a:gd name="connsiteX193" fmla="*/ 5644648 w 6789178"/>
              <a:gd name="connsiteY193" fmla="*/ 693492 h 1432704"/>
              <a:gd name="connsiteX194" fmla="*/ 5667508 w 6789178"/>
              <a:gd name="connsiteY194" fmla="*/ 716352 h 1432704"/>
              <a:gd name="connsiteX195" fmla="*/ 5644648 w 6789178"/>
              <a:gd name="connsiteY195" fmla="*/ 739212 h 1432704"/>
              <a:gd name="connsiteX196" fmla="*/ 5621788 w 6789178"/>
              <a:gd name="connsiteY196" fmla="*/ 716352 h 1432704"/>
              <a:gd name="connsiteX197" fmla="*/ 5644648 w 6789178"/>
              <a:gd name="connsiteY197" fmla="*/ 693492 h 1432704"/>
              <a:gd name="connsiteX198" fmla="*/ 5457703 w 6789178"/>
              <a:gd name="connsiteY198" fmla="*/ 693492 h 1432704"/>
              <a:gd name="connsiteX199" fmla="*/ 5480563 w 6789178"/>
              <a:gd name="connsiteY199" fmla="*/ 716352 h 1432704"/>
              <a:gd name="connsiteX200" fmla="*/ 5457703 w 6789178"/>
              <a:gd name="connsiteY200" fmla="*/ 739212 h 1432704"/>
              <a:gd name="connsiteX201" fmla="*/ 5434843 w 6789178"/>
              <a:gd name="connsiteY201" fmla="*/ 716352 h 1432704"/>
              <a:gd name="connsiteX202" fmla="*/ 5457703 w 6789178"/>
              <a:gd name="connsiteY202" fmla="*/ 693492 h 1432704"/>
              <a:gd name="connsiteX203" fmla="*/ 5270758 w 6789178"/>
              <a:gd name="connsiteY203" fmla="*/ 693492 h 1432704"/>
              <a:gd name="connsiteX204" fmla="*/ 5293618 w 6789178"/>
              <a:gd name="connsiteY204" fmla="*/ 716352 h 1432704"/>
              <a:gd name="connsiteX205" fmla="*/ 5270758 w 6789178"/>
              <a:gd name="connsiteY205" fmla="*/ 739212 h 1432704"/>
              <a:gd name="connsiteX206" fmla="*/ 5247898 w 6789178"/>
              <a:gd name="connsiteY206" fmla="*/ 716352 h 1432704"/>
              <a:gd name="connsiteX207" fmla="*/ 5270758 w 6789178"/>
              <a:gd name="connsiteY207" fmla="*/ 693492 h 1432704"/>
              <a:gd name="connsiteX208" fmla="*/ 5083813 w 6789178"/>
              <a:gd name="connsiteY208" fmla="*/ 693492 h 1432704"/>
              <a:gd name="connsiteX209" fmla="*/ 5106673 w 6789178"/>
              <a:gd name="connsiteY209" fmla="*/ 716352 h 1432704"/>
              <a:gd name="connsiteX210" fmla="*/ 5083813 w 6789178"/>
              <a:gd name="connsiteY210" fmla="*/ 739212 h 1432704"/>
              <a:gd name="connsiteX211" fmla="*/ 5060953 w 6789178"/>
              <a:gd name="connsiteY211" fmla="*/ 716352 h 1432704"/>
              <a:gd name="connsiteX212" fmla="*/ 5083813 w 6789178"/>
              <a:gd name="connsiteY212" fmla="*/ 693492 h 1432704"/>
              <a:gd name="connsiteX213" fmla="*/ 4896868 w 6789178"/>
              <a:gd name="connsiteY213" fmla="*/ 693492 h 1432704"/>
              <a:gd name="connsiteX214" fmla="*/ 4919728 w 6789178"/>
              <a:gd name="connsiteY214" fmla="*/ 716352 h 1432704"/>
              <a:gd name="connsiteX215" fmla="*/ 4919203 w 6789178"/>
              <a:gd name="connsiteY215" fmla="*/ 717621 h 1432704"/>
              <a:gd name="connsiteX216" fmla="*/ 4879303 w 6789178"/>
              <a:gd name="connsiteY216" fmla="*/ 703570 h 1432704"/>
              <a:gd name="connsiteX217" fmla="*/ 4880704 w 6789178"/>
              <a:gd name="connsiteY217" fmla="*/ 700188 h 1432704"/>
              <a:gd name="connsiteX218" fmla="*/ 4896868 w 6789178"/>
              <a:gd name="connsiteY218" fmla="*/ 693492 h 1432704"/>
              <a:gd name="connsiteX219" fmla="*/ 1889044 w 6789178"/>
              <a:gd name="connsiteY219" fmla="*/ 693492 h 1432704"/>
              <a:gd name="connsiteX220" fmla="*/ 1911904 w 6789178"/>
              <a:gd name="connsiteY220" fmla="*/ 716352 h 1432704"/>
              <a:gd name="connsiteX221" fmla="*/ 1907353 w 6789178"/>
              <a:gd name="connsiteY221" fmla="*/ 727340 h 1432704"/>
              <a:gd name="connsiteX222" fmla="*/ 1881966 w 6789178"/>
              <a:gd name="connsiteY222" fmla="*/ 736280 h 1432704"/>
              <a:gd name="connsiteX223" fmla="*/ 1872880 w 6789178"/>
              <a:gd name="connsiteY223" fmla="*/ 732517 h 1432704"/>
              <a:gd name="connsiteX224" fmla="*/ 1866184 w 6789178"/>
              <a:gd name="connsiteY224" fmla="*/ 716352 h 1432704"/>
              <a:gd name="connsiteX225" fmla="*/ 1889044 w 6789178"/>
              <a:gd name="connsiteY225" fmla="*/ 693492 h 1432704"/>
              <a:gd name="connsiteX226" fmla="*/ 1702099 w 6789178"/>
              <a:gd name="connsiteY226" fmla="*/ 693492 h 1432704"/>
              <a:gd name="connsiteX227" fmla="*/ 1724959 w 6789178"/>
              <a:gd name="connsiteY227" fmla="*/ 716352 h 1432704"/>
              <a:gd name="connsiteX228" fmla="*/ 1702099 w 6789178"/>
              <a:gd name="connsiteY228" fmla="*/ 739212 h 1432704"/>
              <a:gd name="connsiteX229" fmla="*/ 1679239 w 6789178"/>
              <a:gd name="connsiteY229" fmla="*/ 716352 h 1432704"/>
              <a:gd name="connsiteX230" fmla="*/ 1702099 w 6789178"/>
              <a:gd name="connsiteY230" fmla="*/ 693492 h 1432704"/>
              <a:gd name="connsiteX231" fmla="*/ 1515154 w 6789178"/>
              <a:gd name="connsiteY231" fmla="*/ 693492 h 1432704"/>
              <a:gd name="connsiteX232" fmla="*/ 1538014 w 6789178"/>
              <a:gd name="connsiteY232" fmla="*/ 716352 h 1432704"/>
              <a:gd name="connsiteX233" fmla="*/ 1515154 w 6789178"/>
              <a:gd name="connsiteY233" fmla="*/ 739212 h 1432704"/>
              <a:gd name="connsiteX234" fmla="*/ 1492294 w 6789178"/>
              <a:gd name="connsiteY234" fmla="*/ 716352 h 1432704"/>
              <a:gd name="connsiteX235" fmla="*/ 1515154 w 6789178"/>
              <a:gd name="connsiteY235" fmla="*/ 693492 h 1432704"/>
              <a:gd name="connsiteX236" fmla="*/ 1328209 w 6789178"/>
              <a:gd name="connsiteY236" fmla="*/ 693492 h 1432704"/>
              <a:gd name="connsiteX237" fmla="*/ 1351069 w 6789178"/>
              <a:gd name="connsiteY237" fmla="*/ 716352 h 1432704"/>
              <a:gd name="connsiteX238" fmla="*/ 1328209 w 6789178"/>
              <a:gd name="connsiteY238" fmla="*/ 739212 h 1432704"/>
              <a:gd name="connsiteX239" fmla="*/ 1305349 w 6789178"/>
              <a:gd name="connsiteY239" fmla="*/ 716352 h 1432704"/>
              <a:gd name="connsiteX240" fmla="*/ 1328209 w 6789178"/>
              <a:gd name="connsiteY240" fmla="*/ 693492 h 1432704"/>
              <a:gd name="connsiteX241" fmla="*/ 1141264 w 6789178"/>
              <a:gd name="connsiteY241" fmla="*/ 693492 h 1432704"/>
              <a:gd name="connsiteX242" fmla="*/ 1164124 w 6789178"/>
              <a:gd name="connsiteY242" fmla="*/ 716352 h 1432704"/>
              <a:gd name="connsiteX243" fmla="*/ 1141264 w 6789178"/>
              <a:gd name="connsiteY243" fmla="*/ 739212 h 1432704"/>
              <a:gd name="connsiteX244" fmla="*/ 1118404 w 6789178"/>
              <a:gd name="connsiteY244" fmla="*/ 716352 h 1432704"/>
              <a:gd name="connsiteX245" fmla="*/ 1141264 w 6789178"/>
              <a:gd name="connsiteY245" fmla="*/ 693492 h 1432704"/>
              <a:gd name="connsiteX246" fmla="*/ 954319 w 6789178"/>
              <a:gd name="connsiteY246" fmla="*/ 693492 h 1432704"/>
              <a:gd name="connsiteX247" fmla="*/ 977179 w 6789178"/>
              <a:gd name="connsiteY247" fmla="*/ 716352 h 1432704"/>
              <a:gd name="connsiteX248" fmla="*/ 954319 w 6789178"/>
              <a:gd name="connsiteY248" fmla="*/ 739212 h 1432704"/>
              <a:gd name="connsiteX249" fmla="*/ 931459 w 6789178"/>
              <a:gd name="connsiteY249" fmla="*/ 716352 h 1432704"/>
              <a:gd name="connsiteX250" fmla="*/ 954319 w 6789178"/>
              <a:gd name="connsiteY250" fmla="*/ 693492 h 1432704"/>
              <a:gd name="connsiteX251" fmla="*/ 1159252 w 6789178"/>
              <a:gd name="connsiteY251" fmla="*/ 554743 h 1432704"/>
              <a:gd name="connsiteX252" fmla="*/ 1157429 w 6789178"/>
              <a:gd name="connsiteY252" fmla="*/ 559144 h 1432704"/>
              <a:gd name="connsiteX253" fmla="*/ 1141264 w 6789178"/>
              <a:gd name="connsiteY253" fmla="*/ 565839 h 1432704"/>
              <a:gd name="connsiteX254" fmla="*/ 1139231 w 6789178"/>
              <a:gd name="connsiteY254" fmla="*/ 564997 h 1432704"/>
              <a:gd name="connsiteX255" fmla="*/ 5635060 w 6789178"/>
              <a:gd name="connsiteY255" fmla="*/ 524091 h 1432704"/>
              <a:gd name="connsiteX256" fmla="*/ 5666315 w 6789178"/>
              <a:gd name="connsiteY256" fmla="*/ 540099 h 1432704"/>
              <a:gd name="connsiteX257" fmla="*/ 5667508 w 6789178"/>
              <a:gd name="connsiteY257" fmla="*/ 542979 h 1432704"/>
              <a:gd name="connsiteX258" fmla="*/ 5644648 w 6789178"/>
              <a:gd name="connsiteY258" fmla="*/ 565839 h 1432704"/>
              <a:gd name="connsiteX259" fmla="*/ 5621788 w 6789178"/>
              <a:gd name="connsiteY259" fmla="*/ 542979 h 1432704"/>
              <a:gd name="connsiteX260" fmla="*/ 5628484 w 6789178"/>
              <a:gd name="connsiteY260" fmla="*/ 526815 h 1432704"/>
              <a:gd name="connsiteX261" fmla="*/ 5457703 w 6789178"/>
              <a:gd name="connsiteY261" fmla="*/ 520119 h 1432704"/>
              <a:gd name="connsiteX262" fmla="*/ 5480563 w 6789178"/>
              <a:gd name="connsiteY262" fmla="*/ 542979 h 1432704"/>
              <a:gd name="connsiteX263" fmla="*/ 5457703 w 6789178"/>
              <a:gd name="connsiteY263" fmla="*/ 565839 h 1432704"/>
              <a:gd name="connsiteX264" fmla="*/ 5434843 w 6789178"/>
              <a:gd name="connsiteY264" fmla="*/ 542979 h 1432704"/>
              <a:gd name="connsiteX265" fmla="*/ 5457703 w 6789178"/>
              <a:gd name="connsiteY265" fmla="*/ 520119 h 1432704"/>
              <a:gd name="connsiteX266" fmla="*/ 5270758 w 6789178"/>
              <a:gd name="connsiteY266" fmla="*/ 520119 h 1432704"/>
              <a:gd name="connsiteX267" fmla="*/ 5293618 w 6789178"/>
              <a:gd name="connsiteY267" fmla="*/ 542979 h 1432704"/>
              <a:gd name="connsiteX268" fmla="*/ 5270758 w 6789178"/>
              <a:gd name="connsiteY268" fmla="*/ 565839 h 1432704"/>
              <a:gd name="connsiteX269" fmla="*/ 5247898 w 6789178"/>
              <a:gd name="connsiteY269" fmla="*/ 542979 h 1432704"/>
              <a:gd name="connsiteX270" fmla="*/ 5270758 w 6789178"/>
              <a:gd name="connsiteY270" fmla="*/ 520119 h 1432704"/>
              <a:gd name="connsiteX271" fmla="*/ 5083813 w 6789178"/>
              <a:gd name="connsiteY271" fmla="*/ 520119 h 1432704"/>
              <a:gd name="connsiteX272" fmla="*/ 5106673 w 6789178"/>
              <a:gd name="connsiteY272" fmla="*/ 542979 h 1432704"/>
              <a:gd name="connsiteX273" fmla="*/ 5083813 w 6789178"/>
              <a:gd name="connsiteY273" fmla="*/ 565839 h 1432704"/>
              <a:gd name="connsiteX274" fmla="*/ 5060953 w 6789178"/>
              <a:gd name="connsiteY274" fmla="*/ 542979 h 1432704"/>
              <a:gd name="connsiteX275" fmla="*/ 5083813 w 6789178"/>
              <a:gd name="connsiteY275" fmla="*/ 520119 h 1432704"/>
              <a:gd name="connsiteX276" fmla="*/ 4896868 w 6789178"/>
              <a:gd name="connsiteY276" fmla="*/ 520119 h 1432704"/>
              <a:gd name="connsiteX277" fmla="*/ 4919728 w 6789178"/>
              <a:gd name="connsiteY277" fmla="*/ 542979 h 1432704"/>
              <a:gd name="connsiteX278" fmla="*/ 4896868 w 6789178"/>
              <a:gd name="connsiteY278" fmla="*/ 565839 h 1432704"/>
              <a:gd name="connsiteX279" fmla="*/ 4874008 w 6789178"/>
              <a:gd name="connsiteY279" fmla="*/ 542979 h 1432704"/>
              <a:gd name="connsiteX280" fmla="*/ 4896868 w 6789178"/>
              <a:gd name="connsiteY280" fmla="*/ 520119 h 1432704"/>
              <a:gd name="connsiteX281" fmla="*/ 4709923 w 6789178"/>
              <a:gd name="connsiteY281" fmla="*/ 520119 h 1432704"/>
              <a:gd name="connsiteX282" fmla="*/ 4732783 w 6789178"/>
              <a:gd name="connsiteY282" fmla="*/ 542979 h 1432704"/>
              <a:gd name="connsiteX283" fmla="*/ 4709923 w 6789178"/>
              <a:gd name="connsiteY283" fmla="*/ 565839 h 1432704"/>
              <a:gd name="connsiteX284" fmla="*/ 4687063 w 6789178"/>
              <a:gd name="connsiteY284" fmla="*/ 542979 h 1432704"/>
              <a:gd name="connsiteX285" fmla="*/ 4709923 w 6789178"/>
              <a:gd name="connsiteY285" fmla="*/ 520119 h 1432704"/>
              <a:gd name="connsiteX286" fmla="*/ 4522978 w 6789178"/>
              <a:gd name="connsiteY286" fmla="*/ 520119 h 1432704"/>
              <a:gd name="connsiteX287" fmla="*/ 4545838 w 6789178"/>
              <a:gd name="connsiteY287" fmla="*/ 542979 h 1432704"/>
              <a:gd name="connsiteX288" fmla="*/ 4522978 w 6789178"/>
              <a:gd name="connsiteY288" fmla="*/ 565839 h 1432704"/>
              <a:gd name="connsiteX289" fmla="*/ 4500118 w 6789178"/>
              <a:gd name="connsiteY289" fmla="*/ 542979 h 1432704"/>
              <a:gd name="connsiteX290" fmla="*/ 4522978 w 6789178"/>
              <a:gd name="connsiteY290" fmla="*/ 520119 h 1432704"/>
              <a:gd name="connsiteX291" fmla="*/ 4336033 w 6789178"/>
              <a:gd name="connsiteY291" fmla="*/ 520119 h 1432704"/>
              <a:gd name="connsiteX292" fmla="*/ 4358893 w 6789178"/>
              <a:gd name="connsiteY292" fmla="*/ 542979 h 1432704"/>
              <a:gd name="connsiteX293" fmla="*/ 4353603 w 6789178"/>
              <a:gd name="connsiteY293" fmla="*/ 555752 h 1432704"/>
              <a:gd name="connsiteX294" fmla="*/ 4315436 w 6789178"/>
              <a:gd name="connsiteY294" fmla="*/ 548443 h 1432704"/>
              <a:gd name="connsiteX295" fmla="*/ 4313173 w 6789178"/>
              <a:gd name="connsiteY295" fmla="*/ 542979 h 1432704"/>
              <a:gd name="connsiteX296" fmla="*/ 4336033 w 6789178"/>
              <a:gd name="connsiteY296" fmla="*/ 520119 h 1432704"/>
              <a:gd name="connsiteX297" fmla="*/ 2636824 w 6789178"/>
              <a:gd name="connsiteY297" fmla="*/ 520119 h 1432704"/>
              <a:gd name="connsiteX298" fmla="*/ 2652567 w 6789178"/>
              <a:gd name="connsiteY298" fmla="*/ 526640 h 1432704"/>
              <a:gd name="connsiteX299" fmla="*/ 2617989 w 6789178"/>
              <a:gd name="connsiteY299" fmla="*/ 533262 h 1432704"/>
              <a:gd name="connsiteX300" fmla="*/ 2620660 w 6789178"/>
              <a:gd name="connsiteY300" fmla="*/ 526815 h 1432704"/>
              <a:gd name="connsiteX301" fmla="*/ 2636824 w 6789178"/>
              <a:gd name="connsiteY301" fmla="*/ 520119 h 1432704"/>
              <a:gd name="connsiteX302" fmla="*/ 2449879 w 6789178"/>
              <a:gd name="connsiteY302" fmla="*/ 520119 h 1432704"/>
              <a:gd name="connsiteX303" fmla="*/ 2472739 w 6789178"/>
              <a:gd name="connsiteY303" fmla="*/ 542979 h 1432704"/>
              <a:gd name="connsiteX304" fmla="*/ 2466044 w 6789178"/>
              <a:gd name="connsiteY304" fmla="*/ 559144 h 1432704"/>
              <a:gd name="connsiteX305" fmla="*/ 2451598 w 6789178"/>
              <a:gd name="connsiteY305" fmla="*/ 565127 h 1432704"/>
              <a:gd name="connsiteX306" fmla="*/ 2449247 w 6789178"/>
              <a:gd name="connsiteY306" fmla="*/ 565577 h 1432704"/>
              <a:gd name="connsiteX307" fmla="*/ 2433715 w 6789178"/>
              <a:gd name="connsiteY307" fmla="*/ 559144 h 1432704"/>
              <a:gd name="connsiteX308" fmla="*/ 2427019 w 6789178"/>
              <a:gd name="connsiteY308" fmla="*/ 542979 h 1432704"/>
              <a:gd name="connsiteX309" fmla="*/ 2449879 w 6789178"/>
              <a:gd name="connsiteY309" fmla="*/ 520119 h 1432704"/>
              <a:gd name="connsiteX310" fmla="*/ 2262934 w 6789178"/>
              <a:gd name="connsiteY310" fmla="*/ 520119 h 1432704"/>
              <a:gd name="connsiteX311" fmla="*/ 2285794 w 6789178"/>
              <a:gd name="connsiteY311" fmla="*/ 542979 h 1432704"/>
              <a:gd name="connsiteX312" fmla="*/ 2262934 w 6789178"/>
              <a:gd name="connsiteY312" fmla="*/ 565839 h 1432704"/>
              <a:gd name="connsiteX313" fmla="*/ 2240074 w 6789178"/>
              <a:gd name="connsiteY313" fmla="*/ 542979 h 1432704"/>
              <a:gd name="connsiteX314" fmla="*/ 2262934 w 6789178"/>
              <a:gd name="connsiteY314" fmla="*/ 520119 h 1432704"/>
              <a:gd name="connsiteX315" fmla="*/ 2075989 w 6789178"/>
              <a:gd name="connsiteY315" fmla="*/ 520119 h 1432704"/>
              <a:gd name="connsiteX316" fmla="*/ 2098849 w 6789178"/>
              <a:gd name="connsiteY316" fmla="*/ 542979 h 1432704"/>
              <a:gd name="connsiteX317" fmla="*/ 2075989 w 6789178"/>
              <a:gd name="connsiteY317" fmla="*/ 565839 h 1432704"/>
              <a:gd name="connsiteX318" fmla="*/ 2053129 w 6789178"/>
              <a:gd name="connsiteY318" fmla="*/ 542979 h 1432704"/>
              <a:gd name="connsiteX319" fmla="*/ 2075989 w 6789178"/>
              <a:gd name="connsiteY319" fmla="*/ 520119 h 1432704"/>
              <a:gd name="connsiteX320" fmla="*/ 1889044 w 6789178"/>
              <a:gd name="connsiteY320" fmla="*/ 520119 h 1432704"/>
              <a:gd name="connsiteX321" fmla="*/ 1911904 w 6789178"/>
              <a:gd name="connsiteY321" fmla="*/ 542979 h 1432704"/>
              <a:gd name="connsiteX322" fmla="*/ 1889044 w 6789178"/>
              <a:gd name="connsiteY322" fmla="*/ 565839 h 1432704"/>
              <a:gd name="connsiteX323" fmla="*/ 1866184 w 6789178"/>
              <a:gd name="connsiteY323" fmla="*/ 542979 h 1432704"/>
              <a:gd name="connsiteX324" fmla="*/ 1889044 w 6789178"/>
              <a:gd name="connsiteY324" fmla="*/ 520119 h 1432704"/>
              <a:gd name="connsiteX325" fmla="*/ 1702099 w 6789178"/>
              <a:gd name="connsiteY325" fmla="*/ 520119 h 1432704"/>
              <a:gd name="connsiteX326" fmla="*/ 1724959 w 6789178"/>
              <a:gd name="connsiteY326" fmla="*/ 542979 h 1432704"/>
              <a:gd name="connsiteX327" fmla="*/ 1702099 w 6789178"/>
              <a:gd name="connsiteY327" fmla="*/ 565839 h 1432704"/>
              <a:gd name="connsiteX328" fmla="*/ 1679239 w 6789178"/>
              <a:gd name="connsiteY328" fmla="*/ 542979 h 1432704"/>
              <a:gd name="connsiteX329" fmla="*/ 1702099 w 6789178"/>
              <a:gd name="connsiteY329" fmla="*/ 520119 h 1432704"/>
              <a:gd name="connsiteX330" fmla="*/ 1515154 w 6789178"/>
              <a:gd name="connsiteY330" fmla="*/ 520119 h 1432704"/>
              <a:gd name="connsiteX331" fmla="*/ 1538014 w 6789178"/>
              <a:gd name="connsiteY331" fmla="*/ 542979 h 1432704"/>
              <a:gd name="connsiteX332" fmla="*/ 1515154 w 6789178"/>
              <a:gd name="connsiteY332" fmla="*/ 565839 h 1432704"/>
              <a:gd name="connsiteX333" fmla="*/ 1492294 w 6789178"/>
              <a:gd name="connsiteY333" fmla="*/ 542979 h 1432704"/>
              <a:gd name="connsiteX334" fmla="*/ 1515154 w 6789178"/>
              <a:gd name="connsiteY334" fmla="*/ 520119 h 1432704"/>
              <a:gd name="connsiteX335" fmla="*/ 1328209 w 6789178"/>
              <a:gd name="connsiteY335" fmla="*/ 520119 h 1432704"/>
              <a:gd name="connsiteX336" fmla="*/ 1351069 w 6789178"/>
              <a:gd name="connsiteY336" fmla="*/ 542979 h 1432704"/>
              <a:gd name="connsiteX337" fmla="*/ 1328209 w 6789178"/>
              <a:gd name="connsiteY337" fmla="*/ 565839 h 1432704"/>
              <a:gd name="connsiteX338" fmla="*/ 1305349 w 6789178"/>
              <a:gd name="connsiteY338" fmla="*/ 542979 h 1432704"/>
              <a:gd name="connsiteX339" fmla="*/ 1328209 w 6789178"/>
              <a:gd name="connsiteY339" fmla="*/ 520119 h 1432704"/>
              <a:gd name="connsiteX340" fmla="*/ 1536305 w 6789178"/>
              <a:gd name="connsiteY340" fmla="*/ 373733 h 1432704"/>
              <a:gd name="connsiteX341" fmla="*/ 1531319 w 6789178"/>
              <a:gd name="connsiteY341" fmla="*/ 385771 h 1432704"/>
              <a:gd name="connsiteX342" fmla="*/ 1515154 w 6789178"/>
              <a:gd name="connsiteY342" fmla="*/ 392466 h 1432704"/>
              <a:gd name="connsiteX343" fmla="*/ 1504568 w 6789178"/>
              <a:gd name="connsiteY343" fmla="*/ 388081 h 1432704"/>
              <a:gd name="connsiteX344" fmla="*/ 5261225 w 6789178"/>
              <a:gd name="connsiteY344" fmla="*/ 350695 h 1432704"/>
              <a:gd name="connsiteX345" fmla="*/ 5290579 w 6789178"/>
              <a:gd name="connsiteY345" fmla="*/ 362269 h 1432704"/>
              <a:gd name="connsiteX346" fmla="*/ 5293618 w 6789178"/>
              <a:gd name="connsiteY346" fmla="*/ 369606 h 1432704"/>
              <a:gd name="connsiteX347" fmla="*/ 5270758 w 6789178"/>
              <a:gd name="connsiteY347" fmla="*/ 392466 h 1432704"/>
              <a:gd name="connsiteX348" fmla="*/ 5247898 w 6789178"/>
              <a:gd name="connsiteY348" fmla="*/ 369606 h 1432704"/>
              <a:gd name="connsiteX349" fmla="*/ 5254594 w 6789178"/>
              <a:gd name="connsiteY349" fmla="*/ 353442 h 1432704"/>
              <a:gd name="connsiteX350" fmla="*/ 5083813 w 6789178"/>
              <a:gd name="connsiteY350" fmla="*/ 346746 h 1432704"/>
              <a:gd name="connsiteX351" fmla="*/ 5106673 w 6789178"/>
              <a:gd name="connsiteY351" fmla="*/ 369606 h 1432704"/>
              <a:gd name="connsiteX352" fmla="*/ 5083813 w 6789178"/>
              <a:gd name="connsiteY352" fmla="*/ 392466 h 1432704"/>
              <a:gd name="connsiteX353" fmla="*/ 5060953 w 6789178"/>
              <a:gd name="connsiteY353" fmla="*/ 369606 h 1432704"/>
              <a:gd name="connsiteX354" fmla="*/ 5083813 w 6789178"/>
              <a:gd name="connsiteY354" fmla="*/ 346746 h 1432704"/>
              <a:gd name="connsiteX355" fmla="*/ 4896868 w 6789178"/>
              <a:gd name="connsiteY355" fmla="*/ 346746 h 1432704"/>
              <a:gd name="connsiteX356" fmla="*/ 4919728 w 6789178"/>
              <a:gd name="connsiteY356" fmla="*/ 369606 h 1432704"/>
              <a:gd name="connsiteX357" fmla="*/ 4896868 w 6789178"/>
              <a:gd name="connsiteY357" fmla="*/ 392466 h 1432704"/>
              <a:gd name="connsiteX358" fmla="*/ 4874008 w 6789178"/>
              <a:gd name="connsiteY358" fmla="*/ 369606 h 1432704"/>
              <a:gd name="connsiteX359" fmla="*/ 4896868 w 6789178"/>
              <a:gd name="connsiteY359" fmla="*/ 346746 h 1432704"/>
              <a:gd name="connsiteX360" fmla="*/ 4709923 w 6789178"/>
              <a:gd name="connsiteY360" fmla="*/ 346746 h 1432704"/>
              <a:gd name="connsiteX361" fmla="*/ 4732783 w 6789178"/>
              <a:gd name="connsiteY361" fmla="*/ 369606 h 1432704"/>
              <a:gd name="connsiteX362" fmla="*/ 4709923 w 6789178"/>
              <a:gd name="connsiteY362" fmla="*/ 392466 h 1432704"/>
              <a:gd name="connsiteX363" fmla="*/ 4687063 w 6789178"/>
              <a:gd name="connsiteY363" fmla="*/ 369606 h 1432704"/>
              <a:gd name="connsiteX364" fmla="*/ 4709923 w 6789178"/>
              <a:gd name="connsiteY364" fmla="*/ 346746 h 1432704"/>
              <a:gd name="connsiteX365" fmla="*/ 4522978 w 6789178"/>
              <a:gd name="connsiteY365" fmla="*/ 346746 h 1432704"/>
              <a:gd name="connsiteX366" fmla="*/ 4545838 w 6789178"/>
              <a:gd name="connsiteY366" fmla="*/ 369606 h 1432704"/>
              <a:gd name="connsiteX367" fmla="*/ 4522978 w 6789178"/>
              <a:gd name="connsiteY367" fmla="*/ 392466 h 1432704"/>
              <a:gd name="connsiteX368" fmla="*/ 4500118 w 6789178"/>
              <a:gd name="connsiteY368" fmla="*/ 369606 h 1432704"/>
              <a:gd name="connsiteX369" fmla="*/ 4522978 w 6789178"/>
              <a:gd name="connsiteY369" fmla="*/ 346746 h 1432704"/>
              <a:gd name="connsiteX370" fmla="*/ 4336033 w 6789178"/>
              <a:gd name="connsiteY370" fmla="*/ 346746 h 1432704"/>
              <a:gd name="connsiteX371" fmla="*/ 4358893 w 6789178"/>
              <a:gd name="connsiteY371" fmla="*/ 369606 h 1432704"/>
              <a:gd name="connsiteX372" fmla="*/ 4336033 w 6789178"/>
              <a:gd name="connsiteY372" fmla="*/ 392466 h 1432704"/>
              <a:gd name="connsiteX373" fmla="*/ 4313173 w 6789178"/>
              <a:gd name="connsiteY373" fmla="*/ 369606 h 1432704"/>
              <a:gd name="connsiteX374" fmla="*/ 4336033 w 6789178"/>
              <a:gd name="connsiteY374" fmla="*/ 346746 h 1432704"/>
              <a:gd name="connsiteX375" fmla="*/ 4132393 w 6789178"/>
              <a:gd name="connsiteY375" fmla="*/ 346746 h 1432704"/>
              <a:gd name="connsiteX376" fmla="*/ 4155253 w 6789178"/>
              <a:gd name="connsiteY376" fmla="*/ 369606 h 1432704"/>
              <a:gd name="connsiteX377" fmla="*/ 4132393 w 6789178"/>
              <a:gd name="connsiteY377" fmla="*/ 392466 h 1432704"/>
              <a:gd name="connsiteX378" fmla="*/ 4109533 w 6789178"/>
              <a:gd name="connsiteY378" fmla="*/ 369606 h 1432704"/>
              <a:gd name="connsiteX379" fmla="*/ 4132393 w 6789178"/>
              <a:gd name="connsiteY379" fmla="*/ 346746 h 1432704"/>
              <a:gd name="connsiteX380" fmla="*/ 3945439 w 6789178"/>
              <a:gd name="connsiteY380" fmla="*/ 346746 h 1432704"/>
              <a:gd name="connsiteX381" fmla="*/ 3968299 w 6789178"/>
              <a:gd name="connsiteY381" fmla="*/ 369606 h 1432704"/>
              <a:gd name="connsiteX382" fmla="*/ 3945439 w 6789178"/>
              <a:gd name="connsiteY382" fmla="*/ 392466 h 1432704"/>
              <a:gd name="connsiteX383" fmla="*/ 3922579 w 6789178"/>
              <a:gd name="connsiteY383" fmla="*/ 369606 h 1432704"/>
              <a:gd name="connsiteX384" fmla="*/ 3945439 w 6789178"/>
              <a:gd name="connsiteY384" fmla="*/ 346746 h 1432704"/>
              <a:gd name="connsiteX385" fmla="*/ 3758494 w 6789178"/>
              <a:gd name="connsiteY385" fmla="*/ 346746 h 1432704"/>
              <a:gd name="connsiteX386" fmla="*/ 3781354 w 6789178"/>
              <a:gd name="connsiteY386" fmla="*/ 369606 h 1432704"/>
              <a:gd name="connsiteX387" fmla="*/ 3758494 w 6789178"/>
              <a:gd name="connsiteY387" fmla="*/ 392466 h 1432704"/>
              <a:gd name="connsiteX388" fmla="*/ 3735634 w 6789178"/>
              <a:gd name="connsiteY388" fmla="*/ 369606 h 1432704"/>
              <a:gd name="connsiteX389" fmla="*/ 3758494 w 6789178"/>
              <a:gd name="connsiteY389" fmla="*/ 346746 h 1432704"/>
              <a:gd name="connsiteX390" fmla="*/ 3571549 w 6789178"/>
              <a:gd name="connsiteY390" fmla="*/ 346746 h 1432704"/>
              <a:gd name="connsiteX391" fmla="*/ 3594409 w 6789178"/>
              <a:gd name="connsiteY391" fmla="*/ 369606 h 1432704"/>
              <a:gd name="connsiteX392" fmla="*/ 3571549 w 6789178"/>
              <a:gd name="connsiteY392" fmla="*/ 392466 h 1432704"/>
              <a:gd name="connsiteX393" fmla="*/ 3548689 w 6789178"/>
              <a:gd name="connsiteY393" fmla="*/ 369606 h 1432704"/>
              <a:gd name="connsiteX394" fmla="*/ 3571549 w 6789178"/>
              <a:gd name="connsiteY394" fmla="*/ 346746 h 1432704"/>
              <a:gd name="connsiteX395" fmla="*/ 3384604 w 6789178"/>
              <a:gd name="connsiteY395" fmla="*/ 346746 h 1432704"/>
              <a:gd name="connsiteX396" fmla="*/ 3407464 w 6789178"/>
              <a:gd name="connsiteY396" fmla="*/ 369606 h 1432704"/>
              <a:gd name="connsiteX397" fmla="*/ 3384604 w 6789178"/>
              <a:gd name="connsiteY397" fmla="*/ 392466 h 1432704"/>
              <a:gd name="connsiteX398" fmla="*/ 3361744 w 6789178"/>
              <a:gd name="connsiteY398" fmla="*/ 369606 h 1432704"/>
              <a:gd name="connsiteX399" fmla="*/ 3384604 w 6789178"/>
              <a:gd name="connsiteY399" fmla="*/ 346746 h 1432704"/>
              <a:gd name="connsiteX400" fmla="*/ 3197659 w 6789178"/>
              <a:gd name="connsiteY400" fmla="*/ 346746 h 1432704"/>
              <a:gd name="connsiteX401" fmla="*/ 3220519 w 6789178"/>
              <a:gd name="connsiteY401" fmla="*/ 369606 h 1432704"/>
              <a:gd name="connsiteX402" fmla="*/ 3197659 w 6789178"/>
              <a:gd name="connsiteY402" fmla="*/ 392466 h 1432704"/>
              <a:gd name="connsiteX403" fmla="*/ 3174799 w 6789178"/>
              <a:gd name="connsiteY403" fmla="*/ 369606 h 1432704"/>
              <a:gd name="connsiteX404" fmla="*/ 3197659 w 6789178"/>
              <a:gd name="connsiteY404" fmla="*/ 346746 h 1432704"/>
              <a:gd name="connsiteX405" fmla="*/ 3010714 w 6789178"/>
              <a:gd name="connsiteY405" fmla="*/ 346746 h 1432704"/>
              <a:gd name="connsiteX406" fmla="*/ 3033574 w 6789178"/>
              <a:gd name="connsiteY406" fmla="*/ 369606 h 1432704"/>
              <a:gd name="connsiteX407" fmla="*/ 3010714 w 6789178"/>
              <a:gd name="connsiteY407" fmla="*/ 392466 h 1432704"/>
              <a:gd name="connsiteX408" fmla="*/ 2987854 w 6789178"/>
              <a:gd name="connsiteY408" fmla="*/ 369606 h 1432704"/>
              <a:gd name="connsiteX409" fmla="*/ 3010714 w 6789178"/>
              <a:gd name="connsiteY409" fmla="*/ 346746 h 1432704"/>
              <a:gd name="connsiteX410" fmla="*/ 2823769 w 6789178"/>
              <a:gd name="connsiteY410" fmla="*/ 346746 h 1432704"/>
              <a:gd name="connsiteX411" fmla="*/ 2846629 w 6789178"/>
              <a:gd name="connsiteY411" fmla="*/ 369606 h 1432704"/>
              <a:gd name="connsiteX412" fmla="*/ 2823769 w 6789178"/>
              <a:gd name="connsiteY412" fmla="*/ 392466 h 1432704"/>
              <a:gd name="connsiteX413" fmla="*/ 2800909 w 6789178"/>
              <a:gd name="connsiteY413" fmla="*/ 369606 h 1432704"/>
              <a:gd name="connsiteX414" fmla="*/ 2823769 w 6789178"/>
              <a:gd name="connsiteY414" fmla="*/ 346746 h 1432704"/>
              <a:gd name="connsiteX415" fmla="*/ 2636824 w 6789178"/>
              <a:gd name="connsiteY415" fmla="*/ 346746 h 1432704"/>
              <a:gd name="connsiteX416" fmla="*/ 2659684 w 6789178"/>
              <a:gd name="connsiteY416" fmla="*/ 369606 h 1432704"/>
              <a:gd name="connsiteX417" fmla="*/ 2636824 w 6789178"/>
              <a:gd name="connsiteY417" fmla="*/ 392466 h 1432704"/>
              <a:gd name="connsiteX418" fmla="*/ 2613964 w 6789178"/>
              <a:gd name="connsiteY418" fmla="*/ 369606 h 1432704"/>
              <a:gd name="connsiteX419" fmla="*/ 2636824 w 6789178"/>
              <a:gd name="connsiteY419" fmla="*/ 346746 h 1432704"/>
              <a:gd name="connsiteX420" fmla="*/ 2449879 w 6789178"/>
              <a:gd name="connsiteY420" fmla="*/ 346746 h 1432704"/>
              <a:gd name="connsiteX421" fmla="*/ 2472739 w 6789178"/>
              <a:gd name="connsiteY421" fmla="*/ 369606 h 1432704"/>
              <a:gd name="connsiteX422" fmla="*/ 2449879 w 6789178"/>
              <a:gd name="connsiteY422" fmla="*/ 392466 h 1432704"/>
              <a:gd name="connsiteX423" fmla="*/ 2427019 w 6789178"/>
              <a:gd name="connsiteY423" fmla="*/ 369606 h 1432704"/>
              <a:gd name="connsiteX424" fmla="*/ 2449879 w 6789178"/>
              <a:gd name="connsiteY424" fmla="*/ 346746 h 1432704"/>
              <a:gd name="connsiteX425" fmla="*/ 2262934 w 6789178"/>
              <a:gd name="connsiteY425" fmla="*/ 346746 h 1432704"/>
              <a:gd name="connsiteX426" fmla="*/ 2285794 w 6789178"/>
              <a:gd name="connsiteY426" fmla="*/ 369606 h 1432704"/>
              <a:gd name="connsiteX427" fmla="*/ 2262934 w 6789178"/>
              <a:gd name="connsiteY427" fmla="*/ 392466 h 1432704"/>
              <a:gd name="connsiteX428" fmla="*/ 2240074 w 6789178"/>
              <a:gd name="connsiteY428" fmla="*/ 369606 h 1432704"/>
              <a:gd name="connsiteX429" fmla="*/ 2262934 w 6789178"/>
              <a:gd name="connsiteY429" fmla="*/ 346746 h 1432704"/>
              <a:gd name="connsiteX430" fmla="*/ 2075989 w 6789178"/>
              <a:gd name="connsiteY430" fmla="*/ 346746 h 1432704"/>
              <a:gd name="connsiteX431" fmla="*/ 2098849 w 6789178"/>
              <a:gd name="connsiteY431" fmla="*/ 369606 h 1432704"/>
              <a:gd name="connsiteX432" fmla="*/ 2075989 w 6789178"/>
              <a:gd name="connsiteY432" fmla="*/ 392466 h 1432704"/>
              <a:gd name="connsiteX433" fmla="*/ 2053129 w 6789178"/>
              <a:gd name="connsiteY433" fmla="*/ 369606 h 1432704"/>
              <a:gd name="connsiteX434" fmla="*/ 2075989 w 6789178"/>
              <a:gd name="connsiteY434" fmla="*/ 346746 h 1432704"/>
              <a:gd name="connsiteX435" fmla="*/ 1889044 w 6789178"/>
              <a:gd name="connsiteY435" fmla="*/ 346746 h 1432704"/>
              <a:gd name="connsiteX436" fmla="*/ 1911904 w 6789178"/>
              <a:gd name="connsiteY436" fmla="*/ 369606 h 1432704"/>
              <a:gd name="connsiteX437" fmla="*/ 1889044 w 6789178"/>
              <a:gd name="connsiteY437" fmla="*/ 392466 h 1432704"/>
              <a:gd name="connsiteX438" fmla="*/ 1866184 w 6789178"/>
              <a:gd name="connsiteY438" fmla="*/ 369606 h 1432704"/>
              <a:gd name="connsiteX439" fmla="*/ 1889044 w 6789178"/>
              <a:gd name="connsiteY439" fmla="*/ 346746 h 1432704"/>
              <a:gd name="connsiteX440" fmla="*/ 1702099 w 6789178"/>
              <a:gd name="connsiteY440" fmla="*/ 346746 h 1432704"/>
              <a:gd name="connsiteX441" fmla="*/ 1724959 w 6789178"/>
              <a:gd name="connsiteY441" fmla="*/ 369606 h 1432704"/>
              <a:gd name="connsiteX442" fmla="*/ 1702099 w 6789178"/>
              <a:gd name="connsiteY442" fmla="*/ 392466 h 1432704"/>
              <a:gd name="connsiteX443" fmla="*/ 1679239 w 6789178"/>
              <a:gd name="connsiteY443" fmla="*/ 369606 h 1432704"/>
              <a:gd name="connsiteX444" fmla="*/ 1702099 w 6789178"/>
              <a:gd name="connsiteY444" fmla="*/ 346746 h 1432704"/>
              <a:gd name="connsiteX445" fmla="*/ 4880592 w 6789178"/>
              <a:gd name="connsiteY445" fmla="*/ 212127 h 1432704"/>
              <a:gd name="connsiteX446" fmla="*/ 4898807 w 6789178"/>
              <a:gd name="connsiteY446" fmla="*/ 218290 h 1432704"/>
              <a:gd name="connsiteX447" fmla="*/ 4896868 w 6789178"/>
              <a:gd name="connsiteY447" fmla="*/ 219093 h 1432704"/>
              <a:gd name="connsiteX448" fmla="*/ 4880704 w 6789178"/>
              <a:gd name="connsiteY448" fmla="*/ 212398 h 1432704"/>
              <a:gd name="connsiteX449" fmla="*/ 2088405 w 6789178"/>
              <a:gd name="connsiteY449" fmla="*/ 178516 h 1432704"/>
              <a:gd name="connsiteX450" fmla="*/ 2092154 w 6789178"/>
              <a:gd name="connsiteY450" fmla="*/ 180069 h 1432704"/>
              <a:gd name="connsiteX451" fmla="*/ 2098849 w 6789178"/>
              <a:gd name="connsiteY451" fmla="*/ 196233 h 1432704"/>
              <a:gd name="connsiteX452" fmla="*/ 2075989 w 6789178"/>
              <a:gd name="connsiteY452" fmla="*/ 219093 h 1432704"/>
              <a:gd name="connsiteX453" fmla="*/ 2053129 w 6789178"/>
              <a:gd name="connsiteY453" fmla="*/ 196233 h 1432704"/>
              <a:gd name="connsiteX454" fmla="*/ 2056744 w 6789178"/>
              <a:gd name="connsiteY454" fmla="*/ 187507 h 1432704"/>
              <a:gd name="connsiteX455" fmla="*/ 4709923 w 6789178"/>
              <a:gd name="connsiteY455" fmla="*/ 173373 h 1432704"/>
              <a:gd name="connsiteX456" fmla="*/ 4732783 w 6789178"/>
              <a:gd name="connsiteY456" fmla="*/ 196233 h 1432704"/>
              <a:gd name="connsiteX457" fmla="*/ 4709923 w 6789178"/>
              <a:gd name="connsiteY457" fmla="*/ 219093 h 1432704"/>
              <a:gd name="connsiteX458" fmla="*/ 4687063 w 6789178"/>
              <a:gd name="connsiteY458" fmla="*/ 196233 h 1432704"/>
              <a:gd name="connsiteX459" fmla="*/ 4709923 w 6789178"/>
              <a:gd name="connsiteY459" fmla="*/ 173373 h 1432704"/>
              <a:gd name="connsiteX460" fmla="*/ 4522978 w 6789178"/>
              <a:gd name="connsiteY460" fmla="*/ 173373 h 1432704"/>
              <a:gd name="connsiteX461" fmla="*/ 4545838 w 6789178"/>
              <a:gd name="connsiteY461" fmla="*/ 196233 h 1432704"/>
              <a:gd name="connsiteX462" fmla="*/ 4522978 w 6789178"/>
              <a:gd name="connsiteY462" fmla="*/ 219093 h 1432704"/>
              <a:gd name="connsiteX463" fmla="*/ 4500118 w 6789178"/>
              <a:gd name="connsiteY463" fmla="*/ 196233 h 1432704"/>
              <a:gd name="connsiteX464" fmla="*/ 4522978 w 6789178"/>
              <a:gd name="connsiteY464" fmla="*/ 173373 h 1432704"/>
              <a:gd name="connsiteX465" fmla="*/ 4336033 w 6789178"/>
              <a:gd name="connsiteY465" fmla="*/ 173373 h 1432704"/>
              <a:gd name="connsiteX466" fmla="*/ 4358893 w 6789178"/>
              <a:gd name="connsiteY466" fmla="*/ 196233 h 1432704"/>
              <a:gd name="connsiteX467" fmla="*/ 4336033 w 6789178"/>
              <a:gd name="connsiteY467" fmla="*/ 219093 h 1432704"/>
              <a:gd name="connsiteX468" fmla="*/ 4313173 w 6789178"/>
              <a:gd name="connsiteY468" fmla="*/ 196233 h 1432704"/>
              <a:gd name="connsiteX469" fmla="*/ 4336033 w 6789178"/>
              <a:gd name="connsiteY469" fmla="*/ 173373 h 1432704"/>
              <a:gd name="connsiteX470" fmla="*/ 4132393 w 6789178"/>
              <a:gd name="connsiteY470" fmla="*/ 173373 h 1432704"/>
              <a:gd name="connsiteX471" fmla="*/ 4155253 w 6789178"/>
              <a:gd name="connsiteY471" fmla="*/ 196233 h 1432704"/>
              <a:gd name="connsiteX472" fmla="*/ 4132393 w 6789178"/>
              <a:gd name="connsiteY472" fmla="*/ 219093 h 1432704"/>
              <a:gd name="connsiteX473" fmla="*/ 4109533 w 6789178"/>
              <a:gd name="connsiteY473" fmla="*/ 196233 h 1432704"/>
              <a:gd name="connsiteX474" fmla="*/ 4132393 w 6789178"/>
              <a:gd name="connsiteY474" fmla="*/ 173373 h 1432704"/>
              <a:gd name="connsiteX475" fmla="*/ 3945439 w 6789178"/>
              <a:gd name="connsiteY475" fmla="*/ 173373 h 1432704"/>
              <a:gd name="connsiteX476" fmla="*/ 3968299 w 6789178"/>
              <a:gd name="connsiteY476" fmla="*/ 196233 h 1432704"/>
              <a:gd name="connsiteX477" fmla="*/ 3945439 w 6789178"/>
              <a:gd name="connsiteY477" fmla="*/ 219093 h 1432704"/>
              <a:gd name="connsiteX478" fmla="*/ 3922579 w 6789178"/>
              <a:gd name="connsiteY478" fmla="*/ 196233 h 1432704"/>
              <a:gd name="connsiteX479" fmla="*/ 3945439 w 6789178"/>
              <a:gd name="connsiteY479" fmla="*/ 173373 h 1432704"/>
              <a:gd name="connsiteX480" fmla="*/ 3758494 w 6789178"/>
              <a:gd name="connsiteY480" fmla="*/ 173373 h 1432704"/>
              <a:gd name="connsiteX481" fmla="*/ 3781354 w 6789178"/>
              <a:gd name="connsiteY481" fmla="*/ 196233 h 1432704"/>
              <a:gd name="connsiteX482" fmla="*/ 3758494 w 6789178"/>
              <a:gd name="connsiteY482" fmla="*/ 219093 h 1432704"/>
              <a:gd name="connsiteX483" fmla="*/ 3735634 w 6789178"/>
              <a:gd name="connsiteY483" fmla="*/ 196233 h 1432704"/>
              <a:gd name="connsiteX484" fmla="*/ 3758494 w 6789178"/>
              <a:gd name="connsiteY484" fmla="*/ 173373 h 1432704"/>
              <a:gd name="connsiteX485" fmla="*/ 3571549 w 6789178"/>
              <a:gd name="connsiteY485" fmla="*/ 173373 h 1432704"/>
              <a:gd name="connsiteX486" fmla="*/ 3594409 w 6789178"/>
              <a:gd name="connsiteY486" fmla="*/ 196233 h 1432704"/>
              <a:gd name="connsiteX487" fmla="*/ 3571549 w 6789178"/>
              <a:gd name="connsiteY487" fmla="*/ 219093 h 1432704"/>
              <a:gd name="connsiteX488" fmla="*/ 3548689 w 6789178"/>
              <a:gd name="connsiteY488" fmla="*/ 196233 h 1432704"/>
              <a:gd name="connsiteX489" fmla="*/ 3571549 w 6789178"/>
              <a:gd name="connsiteY489" fmla="*/ 173373 h 1432704"/>
              <a:gd name="connsiteX490" fmla="*/ 3384604 w 6789178"/>
              <a:gd name="connsiteY490" fmla="*/ 173373 h 1432704"/>
              <a:gd name="connsiteX491" fmla="*/ 3407464 w 6789178"/>
              <a:gd name="connsiteY491" fmla="*/ 196233 h 1432704"/>
              <a:gd name="connsiteX492" fmla="*/ 3384604 w 6789178"/>
              <a:gd name="connsiteY492" fmla="*/ 219093 h 1432704"/>
              <a:gd name="connsiteX493" fmla="*/ 3361744 w 6789178"/>
              <a:gd name="connsiteY493" fmla="*/ 196233 h 1432704"/>
              <a:gd name="connsiteX494" fmla="*/ 3384604 w 6789178"/>
              <a:gd name="connsiteY494" fmla="*/ 173373 h 1432704"/>
              <a:gd name="connsiteX495" fmla="*/ 3197659 w 6789178"/>
              <a:gd name="connsiteY495" fmla="*/ 173373 h 1432704"/>
              <a:gd name="connsiteX496" fmla="*/ 3220519 w 6789178"/>
              <a:gd name="connsiteY496" fmla="*/ 196233 h 1432704"/>
              <a:gd name="connsiteX497" fmla="*/ 3197659 w 6789178"/>
              <a:gd name="connsiteY497" fmla="*/ 219093 h 1432704"/>
              <a:gd name="connsiteX498" fmla="*/ 3174799 w 6789178"/>
              <a:gd name="connsiteY498" fmla="*/ 196233 h 1432704"/>
              <a:gd name="connsiteX499" fmla="*/ 3197659 w 6789178"/>
              <a:gd name="connsiteY499" fmla="*/ 173373 h 1432704"/>
              <a:gd name="connsiteX500" fmla="*/ 3010714 w 6789178"/>
              <a:gd name="connsiteY500" fmla="*/ 173373 h 1432704"/>
              <a:gd name="connsiteX501" fmla="*/ 3033574 w 6789178"/>
              <a:gd name="connsiteY501" fmla="*/ 196233 h 1432704"/>
              <a:gd name="connsiteX502" fmla="*/ 3010714 w 6789178"/>
              <a:gd name="connsiteY502" fmla="*/ 219093 h 1432704"/>
              <a:gd name="connsiteX503" fmla="*/ 2987854 w 6789178"/>
              <a:gd name="connsiteY503" fmla="*/ 196233 h 1432704"/>
              <a:gd name="connsiteX504" fmla="*/ 3010714 w 6789178"/>
              <a:gd name="connsiteY504" fmla="*/ 173373 h 1432704"/>
              <a:gd name="connsiteX505" fmla="*/ 2823769 w 6789178"/>
              <a:gd name="connsiteY505" fmla="*/ 173373 h 1432704"/>
              <a:gd name="connsiteX506" fmla="*/ 2846629 w 6789178"/>
              <a:gd name="connsiteY506" fmla="*/ 196233 h 1432704"/>
              <a:gd name="connsiteX507" fmla="*/ 2823769 w 6789178"/>
              <a:gd name="connsiteY507" fmla="*/ 219093 h 1432704"/>
              <a:gd name="connsiteX508" fmla="*/ 2800909 w 6789178"/>
              <a:gd name="connsiteY508" fmla="*/ 196233 h 1432704"/>
              <a:gd name="connsiteX509" fmla="*/ 2823769 w 6789178"/>
              <a:gd name="connsiteY509" fmla="*/ 173373 h 1432704"/>
              <a:gd name="connsiteX510" fmla="*/ 2636824 w 6789178"/>
              <a:gd name="connsiteY510" fmla="*/ 173373 h 1432704"/>
              <a:gd name="connsiteX511" fmla="*/ 2659684 w 6789178"/>
              <a:gd name="connsiteY511" fmla="*/ 196233 h 1432704"/>
              <a:gd name="connsiteX512" fmla="*/ 2636824 w 6789178"/>
              <a:gd name="connsiteY512" fmla="*/ 219093 h 1432704"/>
              <a:gd name="connsiteX513" fmla="*/ 2613964 w 6789178"/>
              <a:gd name="connsiteY513" fmla="*/ 196233 h 1432704"/>
              <a:gd name="connsiteX514" fmla="*/ 2636824 w 6789178"/>
              <a:gd name="connsiteY514" fmla="*/ 173373 h 1432704"/>
              <a:gd name="connsiteX515" fmla="*/ 2449879 w 6789178"/>
              <a:gd name="connsiteY515" fmla="*/ 173373 h 1432704"/>
              <a:gd name="connsiteX516" fmla="*/ 2472739 w 6789178"/>
              <a:gd name="connsiteY516" fmla="*/ 196233 h 1432704"/>
              <a:gd name="connsiteX517" fmla="*/ 2449879 w 6789178"/>
              <a:gd name="connsiteY517" fmla="*/ 219093 h 1432704"/>
              <a:gd name="connsiteX518" fmla="*/ 2427019 w 6789178"/>
              <a:gd name="connsiteY518" fmla="*/ 196233 h 1432704"/>
              <a:gd name="connsiteX519" fmla="*/ 2449879 w 6789178"/>
              <a:gd name="connsiteY519" fmla="*/ 173373 h 1432704"/>
              <a:gd name="connsiteX520" fmla="*/ 2262934 w 6789178"/>
              <a:gd name="connsiteY520" fmla="*/ 173373 h 1432704"/>
              <a:gd name="connsiteX521" fmla="*/ 2285794 w 6789178"/>
              <a:gd name="connsiteY521" fmla="*/ 196233 h 1432704"/>
              <a:gd name="connsiteX522" fmla="*/ 2262934 w 6789178"/>
              <a:gd name="connsiteY522" fmla="*/ 219093 h 1432704"/>
              <a:gd name="connsiteX523" fmla="*/ 2240074 w 6789178"/>
              <a:gd name="connsiteY523" fmla="*/ 196233 h 1432704"/>
              <a:gd name="connsiteX524" fmla="*/ 2262934 w 6789178"/>
              <a:gd name="connsiteY524" fmla="*/ 173373 h 1432704"/>
              <a:gd name="connsiteX525" fmla="*/ 4116095 w 6789178"/>
              <a:gd name="connsiteY525" fmla="*/ 38700 h 1432704"/>
              <a:gd name="connsiteX526" fmla="*/ 4141536 w 6789178"/>
              <a:gd name="connsiteY526" fmla="*/ 41933 h 1432704"/>
              <a:gd name="connsiteX527" fmla="*/ 4132393 w 6789178"/>
              <a:gd name="connsiteY527" fmla="*/ 45720 h 1432704"/>
              <a:gd name="connsiteX528" fmla="*/ 4116229 w 6789178"/>
              <a:gd name="connsiteY528" fmla="*/ 39025 h 1432704"/>
              <a:gd name="connsiteX529" fmla="*/ 2845735 w 6789178"/>
              <a:gd name="connsiteY529" fmla="*/ 25019 h 1432704"/>
              <a:gd name="connsiteX530" fmla="*/ 2839934 w 6789178"/>
              <a:gd name="connsiteY530" fmla="*/ 39025 h 1432704"/>
              <a:gd name="connsiteX531" fmla="*/ 2823769 w 6789178"/>
              <a:gd name="connsiteY531" fmla="*/ 45720 h 1432704"/>
              <a:gd name="connsiteX532" fmla="*/ 2807605 w 6789178"/>
              <a:gd name="connsiteY532" fmla="*/ 39025 h 1432704"/>
              <a:gd name="connsiteX533" fmla="*/ 2804000 w 6789178"/>
              <a:gd name="connsiteY533" fmla="*/ 30322 h 1432704"/>
              <a:gd name="connsiteX534" fmla="*/ 3926023 w 6789178"/>
              <a:gd name="connsiteY534" fmla="*/ 14548 h 1432704"/>
              <a:gd name="connsiteX535" fmla="*/ 3967014 w 6789178"/>
              <a:gd name="connsiteY535" fmla="*/ 19757 h 1432704"/>
              <a:gd name="connsiteX536" fmla="*/ 3968299 w 6789178"/>
              <a:gd name="connsiteY536" fmla="*/ 22860 h 1432704"/>
              <a:gd name="connsiteX537" fmla="*/ 3945439 w 6789178"/>
              <a:gd name="connsiteY537" fmla="*/ 45720 h 1432704"/>
              <a:gd name="connsiteX538" fmla="*/ 3922579 w 6789178"/>
              <a:gd name="connsiteY538" fmla="*/ 22860 h 1432704"/>
              <a:gd name="connsiteX539" fmla="*/ 3026904 w 6789178"/>
              <a:gd name="connsiteY539" fmla="*/ 6756 h 1432704"/>
              <a:gd name="connsiteX540" fmla="*/ 3033574 w 6789178"/>
              <a:gd name="connsiteY540" fmla="*/ 22860 h 1432704"/>
              <a:gd name="connsiteX541" fmla="*/ 3010714 w 6789178"/>
              <a:gd name="connsiteY541" fmla="*/ 45720 h 1432704"/>
              <a:gd name="connsiteX542" fmla="*/ 2987854 w 6789178"/>
              <a:gd name="connsiteY542" fmla="*/ 22860 h 1432704"/>
              <a:gd name="connsiteX543" fmla="*/ 2993472 w 6789178"/>
              <a:gd name="connsiteY543" fmla="*/ 9298 h 1432704"/>
              <a:gd name="connsiteX544" fmla="*/ 3755379 w 6789178"/>
              <a:gd name="connsiteY544" fmla="*/ 1291 h 1432704"/>
              <a:gd name="connsiteX545" fmla="*/ 3763010 w 6789178"/>
              <a:gd name="connsiteY545" fmla="*/ 1871 h 1432704"/>
              <a:gd name="connsiteX546" fmla="*/ 3774659 w 6789178"/>
              <a:gd name="connsiteY546" fmla="*/ 6696 h 1432704"/>
              <a:gd name="connsiteX547" fmla="*/ 3781354 w 6789178"/>
              <a:gd name="connsiteY547" fmla="*/ 22860 h 1432704"/>
              <a:gd name="connsiteX548" fmla="*/ 3758494 w 6789178"/>
              <a:gd name="connsiteY548" fmla="*/ 45720 h 1432704"/>
              <a:gd name="connsiteX549" fmla="*/ 3735634 w 6789178"/>
              <a:gd name="connsiteY549" fmla="*/ 22860 h 1432704"/>
              <a:gd name="connsiteX550" fmla="*/ 3742330 w 6789178"/>
              <a:gd name="connsiteY550" fmla="*/ 6696 h 1432704"/>
              <a:gd name="connsiteX551" fmla="*/ 3571549 w 6789178"/>
              <a:gd name="connsiteY551" fmla="*/ 0 h 1432704"/>
              <a:gd name="connsiteX552" fmla="*/ 3594409 w 6789178"/>
              <a:gd name="connsiteY552" fmla="*/ 22860 h 1432704"/>
              <a:gd name="connsiteX553" fmla="*/ 3571549 w 6789178"/>
              <a:gd name="connsiteY553" fmla="*/ 45720 h 1432704"/>
              <a:gd name="connsiteX554" fmla="*/ 3548689 w 6789178"/>
              <a:gd name="connsiteY554" fmla="*/ 22860 h 1432704"/>
              <a:gd name="connsiteX555" fmla="*/ 3571549 w 6789178"/>
              <a:gd name="connsiteY555" fmla="*/ 0 h 1432704"/>
              <a:gd name="connsiteX556" fmla="*/ 3384604 w 6789178"/>
              <a:gd name="connsiteY556" fmla="*/ 0 h 1432704"/>
              <a:gd name="connsiteX557" fmla="*/ 3407464 w 6789178"/>
              <a:gd name="connsiteY557" fmla="*/ 22860 h 1432704"/>
              <a:gd name="connsiteX558" fmla="*/ 3384604 w 6789178"/>
              <a:gd name="connsiteY558" fmla="*/ 45720 h 1432704"/>
              <a:gd name="connsiteX559" fmla="*/ 3361744 w 6789178"/>
              <a:gd name="connsiteY559" fmla="*/ 22860 h 1432704"/>
              <a:gd name="connsiteX560" fmla="*/ 3384604 w 6789178"/>
              <a:gd name="connsiteY560" fmla="*/ 0 h 1432704"/>
              <a:gd name="connsiteX561" fmla="*/ 3197659 w 6789178"/>
              <a:gd name="connsiteY561" fmla="*/ 0 h 1432704"/>
              <a:gd name="connsiteX562" fmla="*/ 3220519 w 6789178"/>
              <a:gd name="connsiteY562" fmla="*/ 22860 h 1432704"/>
              <a:gd name="connsiteX563" fmla="*/ 3197659 w 6789178"/>
              <a:gd name="connsiteY563" fmla="*/ 45720 h 1432704"/>
              <a:gd name="connsiteX564" fmla="*/ 3174799 w 6789178"/>
              <a:gd name="connsiteY564" fmla="*/ 22860 h 1432704"/>
              <a:gd name="connsiteX565" fmla="*/ 3197659 w 6789178"/>
              <a:gd name="connsiteY565" fmla="*/ 0 h 1432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</a:cxnLst>
            <a:rect l="l" t="t" r="r" b="b"/>
            <a:pathLst>
              <a:path w="6789178" h="1432704">
                <a:moveTo>
                  <a:pt x="27397" y="1390216"/>
                </a:moveTo>
                <a:lnTo>
                  <a:pt x="35759" y="1393680"/>
                </a:lnTo>
                <a:cubicBezTo>
                  <a:pt x="39896" y="1397817"/>
                  <a:pt x="42454" y="1403532"/>
                  <a:pt x="42454" y="1409844"/>
                </a:cubicBezTo>
                <a:cubicBezTo>
                  <a:pt x="42454" y="1422469"/>
                  <a:pt x="32219" y="1432704"/>
                  <a:pt x="19594" y="1432704"/>
                </a:cubicBezTo>
                <a:cubicBezTo>
                  <a:pt x="13282" y="1432704"/>
                  <a:pt x="7567" y="1430145"/>
                  <a:pt x="3430" y="1426009"/>
                </a:cubicBezTo>
                <a:lnTo>
                  <a:pt x="0" y="1417729"/>
                </a:lnTo>
                <a:lnTo>
                  <a:pt x="14582" y="1402434"/>
                </a:lnTo>
                <a:close/>
                <a:moveTo>
                  <a:pt x="6766318" y="1386984"/>
                </a:moveTo>
                <a:cubicBezTo>
                  <a:pt x="6778943" y="1386984"/>
                  <a:pt x="6789178" y="1397219"/>
                  <a:pt x="6789178" y="1409844"/>
                </a:cubicBezTo>
                <a:cubicBezTo>
                  <a:pt x="6789178" y="1422469"/>
                  <a:pt x="6778943" y="1432704"/>
                  <a:pt x="6766318" y="1432704"/>
                </a:cubicBezTo>
                <a:cubicBezTo>
                  <a:pt x="6753693" y="1432704"/>
                  <a:pt x="6743458" y="1422469"/>
                  <a:pt x="6743458" y="1409844"/>
                </a:cubicBezTo>
                <a:cubicBezTo>
                  <a:pt x="6743458" y="1397219"/>
                  <a:pt x="6753693" y="1386984"/>
                  <a:pt x="6766318" y="1386984"/>
                </a:cubicBezTo>
                <a:close/>
                <a:moveTo>
                  <a:pt x="6579373" y="1386984"/>
                </a:moveTo>
                <a:cubicBezTo>
                  <a:pt x="6591998" y="1386984"/>
                  <a:pt x="6602233" y="1397219"/>
                  <a:pt x="6602233" y="1409844"/>
                </a:cubicBezTo>
                <a:cubicBezTo>
                  <a:pt x="6602233" y="1422469"/>
                  <a:pt x="6591998" y="1432704"/>
                  <a:pt x="6579373" y="1432704"/>
                </a:cubicBezTo>
                <a:cubicBezTo>
                  <a:pt x="6566748" y="1432704"/>
                  <a:pt x="6556513" y="1422469"/>
                  <a:pt x="6556513" y="1409844"/>
                </a:cubicBezTo>
                <a:cubicBezTo>
                  <a:pt x="6556513" y="1397219"/>
                  <a:pt x="6566748" y="1386984"/>
                  <a:pt x="6579373" y="1386984"/>
                </a:cubicBezTo>
                <a:close/>
                <a:moveTo>
                  <a:pt x="6392428" y="1386984"/>
                </a:moveTo>
                <a:cubicBezTo>
                  <a:pt x="6405053" y="1386984"/>
                  <a:pt x="6415288" y="1397219"/>
                  <a:pt x="6415288" y="1409844"/>
                </a:cubicBezTo>
                <a:cubicBezTo>
                  <a:pt x="6415288" y="1422469"/>
                  <a:pt x="6405053" y="1432704"/>
                  <a:pt x="6392428" y="1432704"/>
                </a:cubicBezTo>
                <a:cubicBezTo>
                  <a:pt x="6379803" y="1432704"/>
                  <a:pt x="6369568" y="1422469"/>
                  <a:pt x="6369568" y="1409844"/>
                </a:cubicBezTo>
                <a:cubicBezTo>
                  <a:pt x="6369568" y="1397219"/>
                  <a:pt x="6379803" y="1386984"/>
                  <a:pt x="6392428" y="1386984"/>
                </a:cubicBezTo>
                <a:close/>
                <a:moveTo>
                  <a:pt x="6205483" y="1386984"/>
                </a:moveTo>
                <a:cubicBezTo>
                  <a:pt x="6218108" y="1386984"/>
                  <a:pt x="6228343" y="1397219"/>
                  <a:pt x="6228343" y="1409844"/>
                </a:cubicBezTo>
                <a:cubicBezTo>
                  <a:pt x="6228343" y="1422469"/>
                  <a:pt x="6218108" y="1432704"/>
                  <a:pt x="6205483" y="1432704"/>
                </a:cubicBezTo>
                <a:cubicBezTo>
                  <a:pt x="6192858" y="1432704"/>
                  <a:pt x="6182623" y="1422469"/>
                  <a:pt x="6182623" y="1409844"/>
                </a:cubicBezTo>
                <a:cubicBezTo>
                  <a:pt x="6182623" y="1397219"/>
                  <a:pt x="6192858" y="1386984"/>
                  <a:pt x="6205483" y="1386984"/>
                </a:cubicBezTo>
                <a:close/>
                <a:moveTo>
                  <a:pt x="580429" y="1386984"/>
                </a:moveTo>
                <a:cubicBezTo>
                  <a:pt x="593054" y="1386984"/>
                  <a:pt x="603289" y="1397219"/>
                  <a:pt x="603289" y="1409844"/>
                </a:cubicBezTo>
                <a:cubicBezTo>
                  <a:pt x="603289" y="1422469"/>
                  <a:pt x="593054" y="1432704"/>
                  <a:pt x="580429" y="1432704"/>
                </a:cubicBezTo>
                <a:cubicBezTo>
                  <a:pt x="567804" y="1432704"/>
                  <a:pt x="557569" y="1422469"/>
                  <a:pt x="557569" y="1409844"/>
                </a:cubicBezTo>
                <a:cubicBezTo>
                  <a:pt x="557569" y="1397219"/>
                  <a:pt x="567804" y="1386984"/>
                  <a:pt x="580429" y="1386984"/>
                </a:cubicBezTo>
                <a:close/>
                <a:moveTo>
                  <a:pt x="393484" y="1386984"/>
                </a:moveTo>
                <a:cubicBezTo>
                  <a:pt x="406109" y="1386984"/>
                  <a:pt x="416344" y="1397219"/>
                  <a:pt x="416344" y="1409844"/>
                </a:cubicBezTo>
                <a:cubicBezTo>
                  <a:pt x="416344" y="1422469"/>
                  <a:pt x="406109" y="1432704"/>
                  <a:pt x="393484" y="1432704"/>
                </a:cubicBezTo>
                <a:cubicBezTo>
                  <a:pt x="380859" y="1432704"/>
                  <a:pt x="370624" y="1422469"/>
                  <a:pt x="370624" y="1409844"/>
                </a:cubicBezTo>
                <a:cubicBezTo>
                  <a:pt x="370624" y="1397219"/>
                  <a:pt x="380859" y="1386984"/>
                  <a:pt x="393484" y="1386984"/>
                </a:cubicBezTo>
                <a:close/>
                <a:moveTo>
                  <a:pt x="206539" y="1386984"/>
                </a:moveTo>
                <a:cubicBezTo>
                  <a:pt x="219164" y="1386984"/>
                  <a:pt x="229399" y="1397219"/>
                  <a:pt x="229399" y="1409844"/>
                </a:cubicBezTo>
                <a:cubicBezTo>
                  <a:pt x="229399" y="1422469"/>
                  <a:pt x="219164" y="1432704"/>
                  <a:pt x="206539" y="1432704"/>
                </a:cubicBezTo>
                <a:cubicBezTo>
                  <a:pt x="193914" y="1432704"/>
                  <a:pt x="183679" y="1422469"/>
                  <a:pt x="183679" y="1409844"/>
                </a:cubicBezTo>
                <a:cubicBezTo>
                  <a:pt x="183679" y="1397219"/>
                  <a:pt x="193914" y="1386984"/>
                  <a:pt x="206539" y="1386984"/>
                </a:cubicBezTo>
                <a:close/>
                <a:moveTo>
                  <a:pt x="212734" y="1216177"/>
                </a:moveTo>
                <a:lnTo>
                  <a:pt x="222704" y="1220307"/>
                </a:lnTo>
                <a:cubicBezTo>
                  <a:pt x="226841" y="1224444"/>
                  <a:pt x="229399" y="1230159"/>
                  <a:pt x="229399" y="1236471"/>
                </a:cubicBezTo>
                <a:cubicBezTo>
                  <a:pt x="229399" y="1249096"/>
                  <a:pt x="219164" y="1259331"/>
                  <a:pt x="206539" y="1259331"/>
                </a:cubicBezTo>
                <a:cubicBezTo>
                  <a:pt x="200227" y="1259331"/>
                  <a:pt x="194512" y="1256773"/>
                  <a:pt x="190375" y="1252636"/>
                </a:cubicBezTo>
                <a:lnTo>
                  <a:pt x="185165" y="1240059"/>
                </a:lnTo>
                <a:close/>
                <a:moveTo>
                  <a:pt x="950606" y="1215149"/>
                </a:moveTo>
                <a:lnTo>
                  <a:pt x="935662" y="1226324"/>
                </a:lnTo>
                <a:lnTo>
                  <a:pt x="938155" y="1220307"/>
                </a:lnTo>
                <a:close/>
                <a:moveTo>
                  <a:pt x="6579373" y="1213611"/>
                </a:moveTo>
                <a:cubicBezTo>
                  <a:pt x="6591998" y="1213611"/>
                  <a:pt x="6602233" y="1223846"/>
                  <a:pt x="6602233" y="1236471"/>
                </a:cubicBezTo>
                <a:cubicBezTo>
                  <a:pt x="6602233" y="1249096"/>
                  <a:pt x="6591998" y="1259331"/>
                  <a:pt x="6579373" y="1259331"/>
                </a:cubicBezTo>
                <a:cubicBezTo>
                  <a:pt x="6566748" y="1259331"/>
                  <a:pt x="6556513" y="1249096"/>
                  <a:pt x="6556513" y="1236471"/>
                </a:cubicBezTo>
                <a:cubicBezTo>
                  <a:pt x="6556513" y="1223846"/>
                  <a:pt x="6566748" y="1213611"/>
                  <a:pt x="6579373" y="1213611"/>
                </a:cubicBezTo>
                <a:close/>
                <a:moveTo>
                  <a:pt x="6392428" y="1213611"/>
                </a:moveTo>
                <a:cubicBezTo>
                  <a:pt x="6405053" y="1213611"/>
                  <a:pt x="6415288" y="1223846"/>
                  <a:pt x="6415288" y="1236471"/>
                </a:cubicBezTo>
                <a:cubicBezTo>
                  <a:pt x="6415288" y="1249096"/>
                  <a:pt x="6405053" y="1259331"/>
                  <a:pt x="6392428" y="1259331"/>
                </a:cubicBezTo>
                <a:cubicBezTo>
                  <a:pt x="6379803" y="1259331"/>
                  <a:pt x="6369568" y="1249096"/>
                  <a:pt x="6369568" y="1236471"/>
                </a:cubicBezTo>
                <a:cubicBezTo>
                  <a:pt x="6369568" y="1223846"/>
                  <a:pt x="6379803" y="1213611"/>
                  <a:pt x="6392428" y="1213611"/>
                </a:cubicBezTo>
                <a:close/>
                <a:moveTo>
                  <a:pt x="6205483" y="1213611"/>
                </a:moveTo>
                <a:cubicBezTo>
                  <a:pt x="6218108" y="1213611"/>
                  <a:pt x="6228343" y="1223846"/>
                  <a:pt x="6228343" y="1236471"/>
                </a:cubicBezTo>
                <a:cubicBezTo>
                  <a:pt x="6228343" y="1249096"/>
                  <a:pt x="6218108" y="1259331"/>
                  <a:pt x="6205483" y="1259331"/>
                </a:cubicBezTo>
                <a:cubicBezTo>
                  <a:pt x="6192858" y="1259331"/>
                  <a:pt x="6182623" y="1249096"/>
                  <a:pt x="6182623" y="1236471"/>
                </a:cubicBezTo>
                <a:cubicBezTo>
                  <a:pt x="6182623" y="1223846"/>
                  <a:pt x="6192858" y="1213611"/>
                  <a:pt x="6205483" y="1213611"/>
                </a:cubicBezTo>
                <a:close/>
                <a:moveTo>
                  <a:pt x="6018538" y="1213611"/>
                </a:moveTo>
                <a:cubicBezTo>
                  <a:pt x="6031163" y="1213611"/>
                  <a:pt x="6041398" y="1223846"/>
                  <a:pt x="6041398" y="1236471"/>
                </a:cubicBezTo>
                <a:cubicBezTo>
                  <a:pt x="6041398" y="1249096"/>
                  <a:pt x="6031163" y="1259331"/>
                  <a:pt x="6018538" y="1259331"/>
                </a:cubicBezTo>
                <a:cubicBezTo>
                  <a:pt x="6005913" y="1259331"/>
                  <a:pt x="5995678" y="1249096"/>
                  <a:pt x="5995678" y="1236471"/>
                </a:cubicBezTo>
                <a:cubicBezTo>
                  <a:pt x="5995678" y="1223846"/>
                  <a:pt x="6005913" y="1213611"/>
                  <a:pt x="6018538" y="1213611"/>
                </a:cubicBezTo>
                <a:close/>
                <a:moveTo>
                  <a:pt x="767374" y="1213611"/>
                </a:moveTo>
                <a:cubicBezTo>
                  <a:pt x="779999" y="1213611"/>
                  <a:pt x="790234" y="1223846"/>
                  <a:pt x="790234" y="1236471"/>
                </a:cubicBezTo>
                <a:cubicBezTo>
                  <a:pt x="790234" y="1249096"/>
                  <a:pt x="779999" y="1259331"/>
                  <a:pt x="767374" y="1259331"/>
                </a:cubicBezTo>
                <a:cubicBezTo>
                  <a:pt x="754749" y="1259331"/>
                  <a:pt x="744514" y="1249096"/>
                  <a:pt x="744514" y="1236471"/>
                </a:cubicBezTo>
                <a:cubicBezTo>
                  <a:pt x="744514" y="1223846"/>
                  <a:pt x="754749" y="1213611"/>
                  <a:pt x="767374" y="1213611"/>
                </a:cubicBezTo>
                <a:close/>
                <a:moveTo>
                  <a:pt x="580429" y="1213611"/>
                </a:moveTo>
                <a:cubicBezTo>
                  <a:pt x="593054" y="1213611"/>
                  <a:pt x="603289" y="1223846"/>
                  <a:pt x="603289" y="1236471"/>
                </a:cubicBezTo>
                <a:cubicBezTo>
                  <a:pt x="603289" y="1249096"/>
                  <a:pt x="593054" y="1259331"/>
                  <a:pt x="580429" y="1259331"/>
                </a:cubicBezTo>
                <a:cubicBezTo>
                  <a:pt x="567804" y="1259331"/>
                  <a:pt x="557569" y="1249096"/>
                  <a:pt x="557569" y="1236471"/>
                </a:cubicBezTo>
                <a:cubicBezTo>
                  <a:pt x="557569" y="1223846"/>
                  <a:pt x="567804" y="1213611"/>
                  <a:pt x="580429" y="1213611"/>
                </a:cubicBezTo>
                <a:close/>
                <a:moveTo>
                  <a:pt x="393484" y="1213611"/>
                </a:moveTo>
                <a:cubicBezTo>
                  <a:pt x="406109" y="1213611"/>
                  <a:pt x="416344" y="1223846"/>
                  <a:pt x="416344" y="1236471"/>
                </a:cubicBezTo>
                <a:cubicBezTo>
                  <a:pt x="416344" y="1249096"/>
                  <a:pt x="406109" y="1259331"/>
                  <a:pt x="393484" y="1259331"/>
                </a:cubicBezTo>
                <a:cubicBezTo>
                  <a:pt x="380859" y="1259331"/>
                  <a:pt x="370624" y="1249096"/>
                  <a:pt x="370624" y="1236471"/>
                </a:cubicBezTo>
                <a:cubicBezTo>
                  <a:pt x="370624" y="1223846"/>
                  <a:pt x="380859" y="1213611"/>
                  <a:pt x="393484" y="1213611"/>
                </a:cubicBezTo>
                <a:close/>
                <a:moveTo>
                  <a:pt x="410549" y="1049107"/>
                </a:moveTo>
                <a:lnTo>
                  <a:pt x="416344" y="1063098"/>
                </a:lnTo>
                <a:cubicBezTo>
                  <a:pt x="416344" y="1075723"/>
                  <a:pt x="406109" y="1085958"/>
                  <a:pt x="393484" y="1085958"/>
                </a:cubicBezTo>
                <a:cubicBezTo>
                  <a:pt x="387172" y="1085958"/>
                  <a:pt x="381457" y="1083399"/>
                  <a:pt x="377320" y="1079263"/>
                </a:cubicBezTo>
                <a:lnTo>
                  <a:pt x="376056" y="1076212"/>
                </a:lnTo>
                <a:close/>
                <a:moveTo>
                  <a:pt x="6392428" y="1040238"/>
                </a:moveTo>
                <a:cubicBezTo>
                  <a:pt x="6405053" y="1040238"/>
                  <a:pt x="6415288" y="1050473"/>
                  <a:pt x="6415288" y="1063098"/>
                </a:cubicBezTo>
                <a:cubicBezTo>
                  <a:pt x="6415288" y="1075723"/>
                  <a:pt x="6405053" y="1085958"/>
                  <a:pt x="6392428" y="1085958"/>
                </a:cubicBezTo>
                <a:cubicBezTo>
                  <a:pt x="6379803" y="1085958"/>
                  <a:pt x="6369568" y="1075723"/>
                  <a:pt x="6369568" y="1063098"/>
                </a:cubicBezTo>
                <a:cubicBezTo>
                  <a:pt x="6369568" y="1050473"/>
                  <a:pt x="6379803" y="1040238"/>
                  <a:pt x="6392428" y="1040238"/>
                </a:cubicBezTo>
                <a:close/>
                <a:moveTo>
                  <a:pt x="6205483" y="1040238"/>
                </a:moveTo>
                <a:cubicBezTo>
                  <a:pt x="6218108" y="1040238"/>
                  <a:pt x="6228343" y="1050473"/>
                  <a:pt x="6228343" y="1063098"/>
                </a:cubicBezTo>
                <a:cubicBezTo>
                  <a:pt x="6228343" y="1075723"/>
                  <a:pt x="6218108" y="1085958"/>
                  <a:pt x="6205483" y="1085958"/>
                </a:cubicBezTo>
                <a:cubicBezTo>
                  <a:pt x="6192858" y="1085958"/>
                  <a:pt x="6182623" y="1075723"/>
                  <a:pt x="6182623" y="1063098"/>
                </a:cubicBezTo>
                <a:cubicBezTo>
                  <a:pt x="6182623" y="1050473"/>
                  <a:pt x="6192858" y="1040238"/>
                  <a:pt x="6205483" y="1040238"/>
                </a:cubicBezTo>
                <a:close/>
                <a:moveTo>
                  <a:pt x="6018538" y="1040238"/>
                </a:moveTo>
                <a:cubicBezTo>
                  <a:pt x="6031163" y="1040238"/>
                  <a:pt x="6041398" y="1050473"/>
                  <a:pt x="6041398" y="1063098"/>
                </a:cubicBezTo>
                <a:cubicBezTo>
                  <a:pt x="6041398" y="1075723"/>
                  <a:pt x="6031163" y="1085958"/>
                  <a:pt x="6018538" y="1085958"/>
                </a:cubicBezTo>
                <a:cubicBezTo>
                  <a:pt x="6005913" y="1085958"/>
                  <a:pt x="5995678" y="1075723"/>
                  <a:pt x="5995678" y="1063098"/>
                </a:cubicBezTo>
                <a:cubicBezTo>
                  <a:pt x="5995678" y="1050473"/>
                  <a:pt x="6005913" y="1040238"/>
                  <a:pt x="6018538" y="1040238"/>
                </a:cubicBezTo>
                <a:close/>
                <a:moveTo>
                  <a:pt x="5831593" y="1040238"/>
                </a:moveTo>
                <a:cubicBezTo>
                  <a:pt x="5844218" y="1040238"/>
                  <a:pt x="5854453" y="1050473"/>
                  <a:pt x="5854453" y="1063098"/>
                </a:cubicBezTo>
                <a:cubicBezTo>
                  <a:pt x="5854453" y="1075723"/>
                  <a:pt x="5844218" y="1085958"/>
                  <a:pt x="5831593" y="1085958"/>
                </a:cubicBezTo>
                <a:cubicBezTo>
                  <a:pt x="5818968" y="1085958"/>
                  <a:pt x="5808733" y="1075723"/>
                  <a:pt x="5808733" y="1063098"/>
                </a:cubicBezTo>
                <a:cubicBezTo>
                  <a:pt x="5808733" y="1050473"/>
                  <a:pt x="5818968" y="1040238"/>
                  <a:pt x="5831593" y="1040238"/>
                </a:cubicBezTo>
                <a:close/>
                <a:moveTo>
                  <a:pt x="5644648" y="1040238"/>
                </a:moveTo>
                <a:cubicBezTo>
                  <a:pt x="5657273" y="1040238"/>
                  <a:pt x="5667508" y="1050473"/>
                  <a:pt x="5667508" y="1063098"/>
                </a:cubicBezTo>
                <a:lnTo>
                  <a:pt x="5666177" y="1066311"/>
                </a:lnTo>
                <a:lnTo>
                  <a:pt x="5632481" y="1045278"/>
                </a:lnTo>
                <a:close/>
                <a:moveTo>
                  <a:pt x="1141264" y="1040238"/>
                </a:moveTo>
                <a:cubicBezTo>
                  <a:pt x="1153889" y="1040238"/>
                  <a:pt x="1164124" y="1050473"/>
                  <a:pt x="1164124" y="1063098"/>
                </a:cubicBezTo>
                <a:cubicBezTo>
                  <a:pt x="1164124" y="1075723"/>
                  <a:pt x="1153889" y="1085958"/>
                  <a:pt x="1141264" y="1085958"/>
                </a:cubicBezTo>
                <a:cubicBezTo>
                  <a:pt x="1128639" y="1085958"/>
                  <a:pt x="1118404" y="1075723"/>
                  <a:pt x="1118404" y="1063098"/>
                </a:cubicBezTo>
                <a:cubicBezTo>
                  <a:pt x="1118404" y="1050473"/>
                  <a:pt x="1128639" y="1040238"/>
                  <a:pt x="1141264" y="1040238"/>
                </a:cubicBezTo>
                <a:close/>
                <a:moveTo>
                  <a:pt x="954319" y="1040238"/>
                </a:moveTo>
                <a:cubicBezTo>
                  <a:pt x="966944" y="1040238"/>
                  <a:pt x="977179" y="1050473"/>
                  <a:pt x="977179" y="1063098"/>
                </a:cubicBezTo>
                <a:cubicBezTo>
                  <a:pt x="977179" y="1075723"/>
                  <a:pt x="966944" y="1085958"/>
                  <a:pt x="954319" y="1085958"/>
                </a:cubicBezTo>
                <a:cubicBezTo>
                  <a:pt x="941694" y="1085958"/>
                  <a:pt x="931459" y="1075723"/>
                  <a:pt x="931459" y="1063098"/>
                </a:cubicBezTo>
                <a:cubicBezTo>
                  <a:pt x="931459" y="1050473"/>
                  <a:pt x="941694" y="1040238"/>
                  <a:pt x="954319" y="1040238"/>
                </a:cubicBezTo>
                <a:close/>
                <a:moveTo>
                  <a:pt x="767374" y="1040238"/>
                </a:moveTo>
                <a:cubicBezTo>
                  <a:pt x="779999" y="1040238"/>
                  <a:pt x="790234" y="1050473"/>
                  <a:pt x="790234" y="1063098"/>
                </a:cubicBezTo>
                <a:cubicBezTo>
                  <a:pt x="790234" y="1075723"/>
                  <a:pt x="779999" y="1085958"/>
                  <a:pt x="767374" y="1085958"/>
                </a:cubicBezTo>
                <a:cubicBezTo>
                  <a:pt x="754749" y="1085958"/>
                  <a:pt x="744514" y="1075723"/>
                  <a:pt x="744514" y="1063098"/>
                </a:cubicBezTo>
                <a:cubicBezTo>
                  <a:pt x="744514" y="1050473"/>
                  <a:pt x="754749" y="1040238"/>
                  <a:pt x="767374" y="1040238"/>
                </a:cubicBezTo>
                <a:close/>
                <a:moveTo>
                  <a:pt x="580429" y="1040238"/>
                </a:moveTo>
                <a:cubicBezTo>
                  <a:pt x="593054" y="1040238"/>
                  <a:pt x="603289" y="1050473"/>
                  <a:pt x="603289" y="1063098"/>
                </a:cubicBezTo>
                <a:cubicBezTo>
                  <a:pt x="603289" y="1075723"/>
                  <a:pt x="593054" y="1085958"/>
                  <a:pt x="580429" y="1085958"/>
                </a:cubicBezTo>
                <a:cubicBezTo>
                  <a:pt x="567804" y="1085958"/>
                  <a:pt x="557569" y="1075723"/>
                  <a:pt x="557569" y="1063098"/>
                </a:cubicBezTo>
                <a:cubicBezTo>
                  <a:pt x="557569" y="1050473"/>
                  <a:pt x="567804" y="1040238"/>
                  <a:pt x="580429" y="1040238"/>
                </a:cubicBezTo>
                <a:close/>
                <a:moveTo>
                  <a:pt x="6202585" y="868066"/>
                </a:moveTo>
                <a:lnTo>
                  <a:pt x="6226380" y="884987"/>
                </a:lnTo>
                <a:lnTo>
                  <a:pt x="6228343" y="889725"/>
                </a:lnTo>
                <a:cubicBezTo>
                  <a:pt x="6228343" y="902350"/>
                  <a:pt x="6218108" y="912585"/>
                  <a:pt x="6205483" y="912585"/>
                </a:cubicBezTo>
                <a:cubicBezTo>
                  <a:pt x="6192858" y="912585"/>
                  <a:pt x="6182623" y="902350"/>
                  <a:pt x="6182623" y="889725"/>
                </a:cubicBezTo>
                <a:cubicBezTo>
                  <a:pt x="6182623" y="883413"/>
                  <a:pt x="6185182" y="877698"/>
                  <a:pt x="6189319" y="873561"/>
                </a:cubicBezTo>
                <a:close/>
                <a:moveTo>
                  <a:pt x="6018538" y="866865"/>
                </a:moveTo>
                <a:cubicBezTo>
                  <a:pt x="6031163" y="866865"/>
                  <a:pt x="6041398" y="877100"/>
                  <a:pt x="6041398" y="889725"/>
                </a:cubicBezTo>
                <a:cubicBezTo>
                  <a:pt x="6041398" y="902350"/>
                  <a:pt x="6031163" y="912585"/>
                  <a:pt x="6018538" y="912585"/>
                </a:cubicBezTo>
                <a:cubicBezTo>
                  <a:pt x="6005913" y="912585"/>
                  <a:pt x="5995678" y="902350"/>
                  <a:pt x="5995678" y="889725"/>
                </a:cubicBezTo>
                <a:cubicBezTo>
                  <a:pt x="5995678" y="877100"/>
                  <a:pt x="6005913" y="866865"/>
                  <a:pt x="6018538" y="866865"/>
                </a:cubicBezTo>
                <a:close/>
                <a:moveTo>
                  <a:pt x="5831593" y="866865"/>
                </a:moveTo>
                <a:cubicBezTo>
                  <a:pt x="5844218" y="866865"/>
                  <a:pt x="5854453" y="877100"/>
                  <a:pt x="5854453" y="889725"/>
                </a:cubicBezTo>
                <a:cubicBezTo>
                  <a:pt x="5854453" y="902350"/>
                  <a:pt x="5844218" y="912585"/>
                  <a:pt x="5831593" y="912585"/>
                </a:cubicBezTo>
                <a:cubicBezTo>
                  <a:pt x="5818968" y="912585"/>
                  <a:pt x="5808733" y="902350"/>
                  <a:pt x="5808733" y="889725"/>
                </a:cubicBezTo>
                <a:cubicBezTo>
                  <a:pt x="5808733" y="877100"/>
                  <a:pt x="5818968" y="866865"/>
                  <a:pt x="5831593" y="866865"/>
                </a:cubicBezTo>
                <a:close/>
                <a:moveTo>
                  <a:pt x="5644648" y="866865"/>
                </a:moveTo>
                <a:cubicBezTo>
                  <a:pt x="5657273" y="866865"/>
                  <a:pt x="5667508" y="877100"/>
                  <a:pt x="5667508" y="889725"/>
                </a:cubicBezTo>
                <a:cubicBezTo>
                  <a:pt x="5667508" y="902350"/>
                  <a:pt x="5657273" y="912585"/>
                  <a:pt x="5644648" y="912585"/>
                </a:cubicBezTo>
                <a:cubicBezTo>
                  <a:pt x="5632023" y="912585"/>
                  <a:pt x="5621788" y="902350"/>
                  <a:pt x="5621788" y="889725"/>
                </a:cubicBezTo>
                <a:cubicBezTo>
                  <a:pt x="5621788" y="877100"/>
                  <a:pt x="5632023" y="866865"/>
                  <a:pt x="5644648" y="866865"/>
                </a:cubicBezTo>
                <a:close/>
                <a:moveTo>
                  <a:pt x="5457703" y="866865"/>
                </a:moveTo>
                <a:cubicBezTo>
                  <a:pt x="5470328" y="866865"/>
                  <a:pt x="5480563" y="877100"/>
                  <a:pt x="5480563" y="889725"/>
                </a:cubicBezTo>
                <a:cubicBezTo>
                  <a:pt x="5480563" y="902350"/>
                  <a:pt x="5470328" y="912585"/>
                  <a:pt x="5457703" y="912585"/>
                </a:cubicBezTo>
                <a:cubicBezTo>
                  <a:pt x="5445078" y="912585"/>
                  <a:pt x="5434843" y="902350"/>
                  <a:pt x="5434843" y="889725"/>
                </a:cubicBezTo>
                <a:cubicBezTo>
                  <a:pt x="5434843" y="877100"/>
                  <a:pt x="5445078" y="866865"/>
                  <a:pt x="5457703" y="866865"/>
                </a:cubicBezTo>
                <a:close/>
                <a:moveTo>
                  <a:pt x="1515154" y="866865"/>
                </a:moveTo>
                <a:cubicBezTo>
                  <a:pt x="1521467" y="866865"/>
                  <a:pt x="1527182" y="869424"/>
                  <a:pt x="1531319" y="873561"/>
                </a:cubicBezTo>
                <a:lnTo>
                  <a:pt x="1534707" y="881740"/>
                </a:lnTo>
                <a:lnTo>
                  <a:pt x="1510999" y="892109"/>
                </a:lnTo>
                <a:lnTo>
                  <a:pt x="1496459" y="899780"/>
                </a:lnTo>
                <a:lnTo>
                  <a:pt x="1492294" y="889725"/>
                </a:lnTo>
                <a:cubicBezTo>
                  <a:pt x="1492294" y="877100"/>
                  <a:pt x="1502529" y="866865"/>
                  <a:pt x="1515154" y="866865"/>
                </a:cubicBezTo>
                <a:close/>
                <a:moveTo>
                  <a:pt x="1328209" y="866865"/>
                </a:moveTo>
                <a:cubicBezTo>
                  <a:pt x="1340834" y="866865"/>
                  <a:pt x="1351069" y="877100"/>
                  <a:pt x="1351069" y="889725"/>
                </a:cubicBezTo>
                <a:cubicBezTo>
                  <a:pt x="1351069" y="902350"/>
                  <a:pt x="1340834" y="912585"/>
                  <a:pt x="1328209" y="912585"/>
                </a:cubicBezTo>
                <a:cubicBezTo>
                  <a:pt x="1315584" y="912585"/>
                  <a:pt x="1305349" y="902350"/>
                  <a:pt x="1305349" y="889725"/>
                </a:cubicBezTo>
                <a:cubicBezTo>
                  <a:pt x="1305349" y="877100"/>
                  <a:pt x="1315584" y="866865"/>
                  <a:pt x="1328209" y="866865"/>
                </a:cubicBezTo>
                <a:close/>
                <a:moveTo>
                  <a:pt x="1141264" y="866865"/>
                </a:moveTo>
                <a:cubicBezTo>
                  <a:pt x="1153889" y="866865"/>
                  <a:pt x="1164124" y="877100"/>
                  <a:pt x="1164124" y="889725"/>
                </a:cubicBezTo>
                <a:cubicBezTo>
                  <a:pt x="1164124" y="902350"/>
                  <a:pt x="1153889" y="912585"/>
                  <a:pt x="1141264" y="912585"/>
                </a:cubicBezTo>
                <a:cubicBezTo>
                  <a:pt x="1128639" y="912585"/>
                  <a:pt x="1118404" y="902350"/>
                  <a:pt x="1118404" y="889725"/>
                </a:cubicBezTo>
                <a:cubicBezTo>
                  <a:pt x="1118404" y="877100"/>
                  <a:pt x="1128639" y="866865"/>
                  <a:pt x="1141264" y="866865"/>
                </a:cubicBezTo>
                <a:close/>
                <a:moveTo>
                  <a:pt x="954319" y="866865"/>
                </a:moveTo>
                <a:cubicBezTo>
                  <a:pt x="966944" y="866865"/>
                  <a:pt x="977179" y="877100"/>
                  <a:pt x="977179" y="889725"/>
                </a:cubicBezTo>
                <a:cubicBezTo>
                  <a:pt x="977179" y="902350"/>
                  <a:pt x="966944" y="912585"/>
                  <a:pt x="954319" y="912585"/>
                </a:cubicBezTo>
                <a:cubicBezTo>
                  <a:pt x="941694" y="912585"/>
                  <a:pt x="931459" y="902350"/>
                  <a:pt x="931459" y="889725"/>
                </a:cubicBezTo>
                <a:cubicBezTo>
                  <a:pt x="931459" y="877100"/>
                  <a:pt x="941694" y="866865"/>
                  <a:pt x="954319" y="866865"/>
                </a:cubicBezTo>
                <a:close/>
                <a:moveTo>
                  <a:pt x="767374" y="866865"/>
                </a:moveTo>
                <a:cubicBezTo>
                  <a:pt x="779999" y="866865"/>
                  <a:pt x="790234" y="877100"/>
                  <a:pt x="790234" y="889725"/>
                </a:cubicBezTo>
                <a:cubicBezTo>
                  <a:pt x="790234" y="902350"/>
                  <a:pt x="779999" y="912585"/>
                  <a:pt x="767374" y="912585"/>
                </a:cubicBezTo>
                <a:cubicBezTo>
                  <a:pt x="754749" y="912585"/>
                  <a:pt x="744514" y="902350"/>
                  <a:pt x="744514" y="889725"/>
                </a:cubicBezTo>
                <a:cubicBezTo>
                  <a:pt x="744514" y="877100"/>
                  <a:pt x="754749" y="866865"/>
                  <a:pt x="767374" y="866865"/>
                </a:cubicBezTo>
                <a:close/>
                <a:moveTo>
                  <a:pt x="5831593" y="693492"/>
                </a:moveTo>
                <a:cubicBezTo>
                  <a:pt x="5844218" y="693492"/>
                  <a:pt x="5854453" y="703727"/>
                  <a:pt x="5854453" y="716352"/>
                </a:cubicBezTo>
                <a:cubicBezTo>
                  <a:pt x="5854453" y="728977"/>
                  <a:pt x="5844218" y="739212"/>
                  <a:pt x="5831593" y="739212"/>
                </a:cubicBezTo>
                <a:cubicBezTo>
                  <a:pt x="5818968" y="739212"/>
                  <a:pt x="5808733" y="728977"/>
                  <a:pt x="5808733" y="716352"/>
                </a:cubicBezTo>
                <a:cubicBezTo>
                  <a:pt x="5808733" y="703727"/>
                  <a:pt x="5818968" y="693492"/>
                  <a:pt x="5831593" y="693492"/>
                </a:cubicBezTo>
                <a:close/>
                <a:moveTo>
                  <a:pt x="5644648" y="693492"/>
                </a:moveTo>
                <a:cubicBezTo>
                  <a:pt x="5657273" y="693492"/>
                  <a:pt x="5667508" y="703727"/>
                  <a:pt x="5667508" y="716352"/>
                </a:cubicBezTo>
                <a:cubicBezTo>
                  <a:pt x="5667508" y="728977"/>
                  <a:pt x="5657273" y="739212"/>
                  <a:pt x="5644648" y="739212"/>
                </a:cubicBezTo>
                <a:cubicBezTo>
                  <a:pt x="5632023" y="739212"/>
                  <a:pt x="5621788" y="728977"/>
                  <a:pt x="5621788" y="716352"/>
                </a:cubicBezTo>
                <a:cubicBezTo>
                  <a:pt x="5621788" y="703727"/>
                  <a:pt x="5632023" y="693492"/>
                  <a:pt x="5644648" y="693492"/>
                </a:cubicBezTo>
                <a:close/>
                <a:moveTo>
                  <a:pt x="5457703" y="693492"/>
                </a:moveTo>
                <a:cubicBezTo>
                  <a:pt x="5470328" y="693492"/>
                  <a:pt x="5480563" y="703727"/>
                  <a:pt x="5480563" y="716352"/>
                </a:cubicBezTo>
                <a:cubicBezTo>
                  <a:pt x="5480563" y="728977"/>
                  <a:pt x="5470328" y="739212"/>
                  <a:pt x="5457703" y="739212"/>
                </a:cubicBezTo>
                <a:cubicBezTo>
                  <a:pt x="5445078" y="739212"/>
                  <a:pt x="5434843" y="728977"/>
                  <a:pt x="5434843" y="716352"/>
                </a:cubicBezTo>
                <a:cubicBezTo>
                  <a:pt x="5434843" y="703727"/>
                  <a:pt x="5445078" y="693492"/>
                  <a:pt x="5457703" y="693492"/>
                </a:cubicBezTo>
                <a:close/>
                <a:moveTo>
                  <a:pt x="5270758" y="693492"/>
                </a:moveTo>
                <a:cubicBezTo>
                  <a:pt x="5283383" y="693492"/>
                  <a:pt x="5293618" y="703727"/>
                  <a:pt x="5293618" y="716352"/>
                </a:cubicBezTo>
                <a:cubicBezTo>
                  <a:pt x="5293618" y="728977"/>
                  <a:pt x="5283383" y="739212"/>
                  <a:pt x="5270758" y="739212"/>
                </a:cubicBezTo>
                <a:cubicBezTo>
                  <a:pt x="5258133" y="739212"/>
                  <a:pt x="5247898" y="728977"/>
                  <a:pt x="5247898" y="716352"/>
                </a:cubicBezTo>
                <a:cubicBezTo>
                  <a:pt x="5247898" y="703727"/>
                  <a:pt x="5258133" y="693492"/>
                  <a:pt x="5270758" y="693492"/>
                </a:cubicBezTo>
                <a:close/>
                <a:moveTo>
                  <a:pt x="5083813" y="693492"/>
                </a:moveTo>
                <a:cubicBezTo>
                  <a:pt x="5096438" y="693492"/>
                  <a:pt x="5106673" y="703727"/>
                  <a:pt x="5106673" y="716352"/>
                </a:cubicBezTo>
                <a:cubicBezTo>
                  <a:pt x="5106673" y="728977"/>
                  <a:pt x="5096438" y="739212"/>
                  <a:pt x="5083813" y="739212"/>
                </a:cubicBezTo>
                <a:cubicBezTo>
                  <a:pt x="5071188" y="739212"/>
                  <a:pt x="5060953" y="728977"/>
                  <a:pt x="5060953" y="716352"/>
                </a:cubicBezTo>
                <a:cubicBezTo>
                  <a:pt x="5060953" y="703727"/>
                  <a:pt x="5071188" y="693492"/>
                  <a:pt x="5083813" y="693492"/>
                </a:cubicBezTo>
                <a:close/>
                <a:moveTo>
                  <a:pt x="4896868" y="693492"/>
                </a:moveTo>
                <a:cubicBezTo>
                  <a:pt x="4909493" y="693492"/>
                  <a:pt x="4919728" y="703727"/>
                  <a:pt x="4919728" y="716352"/>
                </a:cubicBezTo>
                <a:lnTo>
                  <a:pt x="4919203" y="717621"/>
                </a:lnTo>
                <a:lnTo>
                  <a:pt x="4879303" y="703570"/>
                </a:lnTo>
                <a:lnTo>
                  <a:pt x="4880704" y="700188"/>
                </a:lnTo>
                <a:cubicBezTo>
                  <a:pt x="4884841" y="696051"/>
                  <a:pt x="4890556" y="693492"/>
                  <a:pt x="4896868" y="693492"/>
                </a:cubicBezTo>
                <a:close/>
                <a:moveTo>
                  <a:pt x="1889044" y="693492"/>
                </a:moveTo>
                <a:cubicBezTo>
                  <a:pt x="1901669" y="693492"/>
                  <a:pt x="1911904" y="703727"/>
                  <a:pt x="1911904" y="716352"/>
                </a:cubicBezTo>
                <a:lnTo>
                  <a:pt x="1907353" y="727340"/>
                </a:lnTo>
                <a:lnTo>
                  <a:pt x="1881966" y="736280"/>
                </a:lnTo>
                <a:lnTo>
                  <a:pt x="1872880" y="732517"/>
                </a:lnTo>
                <a:cubicBezTo>
                  <a:pt x="1868743" y="728380"/>
                  <a:pt x="1866184" y="722665"/>
                  <a:pt x="1866184" y="716352"/>
                </a:cubicBezTo>
                <a:cubicBezTo>
                  <a:pt x="1866184" y="703727"/>
                  <a:pt x="1876419" y="693492"/>
                  <a:pt x="1889044" y="693492"/>
                </a:cubicBezTo>
                <a:close/>
                <a:moveTo>
                  <a:pt x="1702099" y="693492"/>
                </a:moveTo>
                <a:cubicBezTo>
                  <a:pt x="1714724" y="693492"/>
                  <a:pt x="1724959" y="703727"/>
                  <a:pt x="1724959" y="716352"/>
                </a:cubicBezTo>
                <a:cubicBezTo>
                  <a:pt x="1724959" y="728977"/>
                  <a:pt x="1714724" y="739212"/>
                  <a:pt x="1702099" y="739212"/>
                </a:cubicBezTo>
                <a:cubicBezTo>
                  <a:pt x="1689474" y="739212"/>
                  <a:pt x="1679239" y="728977"/>
                  <a:pt x="1679239" y="716352"/>
                </a:cubicBezTo>
                <a:cubicBezTo>
                  <a:pt x="1679239" y="703727"/>
                  <a:pt x="1689474" y="693492"/>
                  <a:pt x="1702099" y="693492"/>
                </a:cubicBezTo>
                <a:close/>
                <a:moveTo>
                  <a:pt x="1515154" y="693492"/>
                </a:moveTo>
                <a:cubicBezTo>
                  <a:pt x="1527779" y="693492"/>
                  <a:pt x="1538014" y="703727"/>
                  <a:pt x="1538014" y="716352"/>
                </a:cubicBezTo>
                <a:cubicBezTo>
                  <a:pt x="1538014" y="728977"/>
                  <a:pt x="1527779" y="739212"/>
                  <a:pt x="1515154" y="739212"/>
                </a:cubicBezTo>
                <a:cubicBezTo>
                  <a:pt x="1502529" y="739212"/>
                  <a:pt x="1492294" y="728977"/>
                  <a:pt x="1492294" y="716352"/>
                </a:cubicBezTo>
                <a:cubicBezTo>
                  <a:pt x="1492294" y="703727"/>
                  <a:pt x="1502529" y="693492"/>
                  <a:pt x="1515154" y="693492"/>
                </a:cubicBezTo>
                <a:close/>
                <a:moveTo>
                  <a:pt x="1328209" y="693492"/>
                </a:moveTo>
                <a:cubicBezTo>
                  <a:pt x="1340834" y="693492"/>
                  <a:pt x="1351069" y="703727"/>
                  <a:pt x="1351069" y="716352"/>
                </a:cubicBezTo>
                <a:cubicBezTo>
                  <a:pt x="1351069" y="728977"/>
                  <a:pt x="1340834" y="739212"/>
                  <a:pt x="1328209" y="739212"/>
                </a:cubicBezTo>
                <a:cubicBezTo>
                  <a:pt x="1315584" y="739212"/>
                  <a:pt x="1305349" y="728977"/>
                  <a:pt x="1305349" y="716352"/>
                </a:cubicBezTo>
                <a:cubicBezTo>
                  <a:pt x="1305349" y="703727"/>
                  <a:pt x="1315584" y="693492"/>
                  <a:pt x="1328209" y="693492"/>
                </a:cubicBezTo>
                <a:close/>
                <a:moveTo>
                  <a:pt x="1141264" y="693492"/>
                </a:moveTo>
                <a:cubicBezTo>
                  <a:pt x="1153889" y="693492"/>
                  <a:pt x="1164124" y="703727"/>
                  <a:pt x="1164124" y="716352"/>
                </a:cubicBezTo>
                <a:cubicBezTo>
                  <a:pt x="1164124" y="728977"/>
                  <a:pt x="1153889" y="739212"/>
                  <a:pt x="1141264" y="739212"/>
                </a:cubicBezTo>
                <a:cubicBezTo>
                  <a:pt x="1128639" y="739212"/>
                  <a:pt x="1118404" y="728977"/>
                  <a:pt x="1118404" y="716352"/>
                </a:cubicBezTo>
                <a:cubicBezTo>
                  <a:pt x="1118404" y="703727"/>
                  <a:pt x="1128639" y="693492"/>
                  <a:pt x="1141264" y="693492"/>
                </a:cubicBezTo>
                <a:close/>
                <a:moveTo>
                  <a:pt x="954319" y="693492"/>
                </a:moveTo>
                <a:cubicBezTo>
                  <a:pt x="966944" y="693492"/>
                  <a:pt x="977179" y="703727"/>
                  <a:pt x="977179" y="716352"/>
                </a:cubicBezTo>
                <a:cubicBezTo>
                  <a:pt x="977179" y="728977"/>
                  <a:pt x="966944" y="739212"/>
                  <a:pt x="954319" y="739212"/>
                </a:cubicBezTo>
                <a:cubicBezTo>
                  <a:pt x="941694" y="739212"/>
                  <a:pt x="931459" y="728977"/>
                  <a:pt x="931459" y="716352"/>
                </a:cubicBezTo>
                <a:cubicBezTo>
                  <a:pt x="931459" y="703727"/>
                  <a:pt x="941694" y="693492"/>
                  <a:pt x="954319" y="693492"/>
                </a:cubicBezTo>
                <a:close/>
                <a:moveTo>
                  <a:pt x="1159252" y="554743"/>
                </a:moveTo>
                <a:lnTo>
                  <a:pt x="1157429" y="559144"/>
                </a:lnTo>
                <a:cubicBezTo>
                  <a:pt x="1153292" y="563280"/>
                  <a:pt x="1147577" y="565839"/>
                  <a:pt x="1141264" y="565839"/>
                </a:cubicBezTo>
                <a:lnTo>
                  <a:pt x="1139231" y="564997"/>
                </a:lnTo>
                <a:close/>
                <a:moveTo>
                  <a:pt x="5635060" y="524091"/>
                </a:moveTo>
                <a:lnTo>
                  <a:pt x="5666315" y="540099"/>
                </a:lnTo>
                <a:lnTo>
                  <a:pt x="5667508" y="542979"/>
                </a:lnTo>
                <a:cubicBezTo>
                  <a:pt x="5667508" y="555604"/>
                  <a:pt x="5657273" y="565839"/>
                  <a:pt x="5644648" y="565839"/>
                </a:cubicBezTo>
                <a:cubicBezTo>
                  <a:pt x="5632023" y="565839"/>
                  <a:pt x="5621788" y="555604"/>
                  <a:pt x="5621788" y="542979"/>
                </a:cubicBezTo>
                <a:cubicBezTo>
                  <a:pt x="5621788" y="536667"/>
                  <a:pt x="5624347" y="530952"/>
                  <a:pt x="5628484" y="526815"/>
                </a:cubicBezTo>
                <a:close/>
                <a:moveTo>
                  <a:pt x="5457703" y="520119"/>
                </a:moveTo>
                <a:cubicBezTo>
                  <a:pt x="5470328" y="520119"/>
                  <a:pt x="5480563" y="530354"/>
                  <a:pt x="5480563" y="542979"/>
                </a:cubicBezTo>
                <a:cubicBezTo>
                  <a:pt x="5480563" y="555604"/>
                  <a:pt x="5470328" y="565839"/>
                  <a:pt x="5457703" y="565839"/>
                </a:cubicBezTo>
                <a:cubicBezTo>
                  <a:pt x="5445078" y="565839"/>
                  <a:pt x="5434843" y="555604"/>
                  <a:pt x="5434843" y="542979"/>
                </a:cubicBezTo>
                <a:cubicBezTo>
                  <a:pt x="5434843" y="530354"/>
                  <a:pt x="5445078" y="520119"/>
                  <a:pt x="5457703" y="520119"/>
                </a:cubicBezTo>
                <a:close/>
                <a:moveTo>
                  <a:pt x="5270758" y="520119"/>
                </a:moveTo>
                <a:cubicBezTo>
                  <a:pt x="5283383" y="520119"/>
                  <a:pt x="5293618" y="530354"/>
                  <a:pt x="5293618" y="542979"/>
                </a:cubicBezTo>
                <a:cubicBezTo>
                  <a:pt x="5293618" y="555604"/>
                  <a:pt x="5283383" y="565839"/>
                  <a:pt x="5270758" y="565839"/>
                </a:cubicBezTo>
                <a:cubicBezTo>
                  <a:pt x="5258133" y="565839"/>
                  <a:pt x="5247898" y="555604"/>
                  <a:pt x="5247898" y="542979"/>
                </a:cubicBezTo>
                <a:cubicBezTo>
                  <a:pt x="5247898" y="530354"/>
                  <a:pt x="5258133" y="520119"/>
                  <a:pt x="5270758" y="520119"/>
                </a:cubicBezTo>
                <a:close/>
                <a:moveTo>
                  <a:pt x="5083813" y="520119"/>
                </a:moveTo>
                <a:cubicBezTo>
                  <a:pt x="5096438" y="520119"/>
                  <a:pt x="5106673" y="530354"/>
                  <a:pt x="5106673" y="542979"/>
                </a:cubicBezTo>
                <a:cubicBezTo>
                  <a:pt x="5106673" y="555604"/>
                  <a:pt x="5096438" y="565839"/>
                  <a:pt x="5083813" y="565839"/>
                </a:cubicBezTo>
                <a:cubicBezTo>
                  <a:pt x="5071188" y="565839"/>
                  <a:pt x="5060953" y="555604"/>
                  <a:pt x="5060953" y="542979"/>
                </a:cubicBezTo>
                <a:cubicBezTo>
                  <a:pt x="5060953" y="530354"/>
                  <a:pt x="5071188" y="520119"/>
                  <a:pt x="5083813" y="520119"/>
                </a:cubicBezTo>
                <a:close/>
                <a:moveTo>
                  <a:pt x="4896868" y="520119"/>
                </a:moveTo>
                <a:cubicBezTo>
                  <a:pt x="4909493" y="520119"/>
                  <a:pt x="4919728" y="530354"/>
                  <a:pt x="4919728" y="542979"/>
                </a:cubicBezTo>
                <a:cubicBezTo>
                  <a:pt x="4919728" y="555604"/>
                  <a:pt x="4909493" y="565839"/>
                  <a:pt x="4896868" y="565839"/>
                </a:cubicBezTo>
                <a:cubicBezTo>
                  <a:pt x="4884243" y="565839"/>
                  <a:pt x="4874008" y="555604"/>
                  <a:pt x="4874008" y="542979"/>
                </a:cubicBezTo>
                <a:cubicBezTo>
                  <a:pt x="4874008" y="530354"/>
                  <a:pt x="4884243" y="520119"/>
                  <a:pt x="4896868" y="520119"/>
                </a:cubicBezTo>
                <a:close/>
                <a:moveTo>
                  <a:pt x="4709923" y="520119"/>
                </a:moveTo>
                <a:cubicBezTo>
                  <a:pt x="4722548" y="520119"/>
                  <a:pt x="4732783" y="530354"/>
                  <a:pt x="4732783" y="542979"/>
                </a:cubicBezTo>
                <a:cubicBezTo>
                  <a:pt x="4732783" y="555604"/>
                  <a:pt x="4722548" y="565839"/>
                  <a:pt x="4709923" y="565839"/>
                </a:cubicBezTo>
                <a:cubicBezTo>
                  <a:pt x="4697298" y="565839"/>
                  <a:pt x="4687063" y="555604"/>
                  <a:pt x="4687063" y="542979"/>
                </a:cubicBezTo>
                <a:cubicBezTo>
                  <a:pt x="4687063" y="530354"/>
                  <a:pt x="4697298" y="520119"/>
                  <a:pt x="4709923" y="520119"/>
                </a:cubicBezTo>
                <a:close/>
                <a:moveTo>
                  <a:pt x="4522978" y="520119"/>
                </a:moveTo>
                <a:cubicBezTo>
                  <a:pt x="4535603" y="520119"/>
                  <a:pt x="4545838" y="530354"/>
                  <a:pt x="4545838" y="542979"/>
                </a:cubicBezTo>
                <a:cubicBezTo>
                  <a:pt x="4545838" y="555604"/>
                  <a:pt x="4535603" y="565839"/>
                  <a:pt x="4522978" y="565839"/>
                </a:cubicBezTo>
                <a:cubicBezTo>
                  <a:pt x="4510353" y="565839"/>
                  <a:pt x="4500118" y="555604"/>
                  <a:pt x="4500118" y="542979"/>
                </a:cubicBezTo>
                <a:cubicBezTo>
                  <a:pt x="4500118" y="530354"/>
                  <a:pt x="4510353" y="520119"/>
                  <a:pt x="4522978" y="520119"/>
                </a:cubicBezTo>
                <a:close/>
                <a:moveTo>
                  <a:pt x="4336033" y="520119"/>
                </a:moveTo>
                <a:cubicBezTo>
                  <a:pt x="4348658" y="520119"/>
                  <a:pt x="4358893" y="530354"/>
                  <a:pt x="4358893" y="542979"/>
                </a:cubicBezTo>
                <a:lnTo>
                  <a:pt x="4353603" y="555752"/>
                </a:lnTo>
                <a:lnTo>
                  <a:pt x="4315436" y="548443"/>
                </a:lnTo>
                <a:lnTo>
                  <a:pt x="4313173" y="542979"/>
                </a:lnTo>
                <a:cubicBezTo>
                  <a:pt x="4313173" y="530354"/>
                  <a:pt x="4323408" y="520119"/>
                  <a:pt x="4336033" y="520119"/>
                </a:cubicBezTo>
                <a:close/>
                <a:moveTo>
                  <a:pt x="2636824" y="520119"/>
                </a:moveTo>
                <a:lnTo>
                  <a:pt x="2652567" y="526640"/>
                </a:lnTo>
                <a:lnTo>
                  <a:pt x="2617989" y="533262"/>
                </a:lnTo>
                <a:lnTo>
                  <a:pt x="2620660" y="526815"/>
                </a:lnTo>
                <a:cubicBezTo>
                  <a:pt x="2624797" y="522678"/>
                  <a:pt x="2630512" y="520119"/>
                  <a:pt x="2636824" y="520119"/>
                </a:cubicBezTo>
                <a:close/>
                <a:moveTo>
                  <a:pt x="2449879" y="520119"/>
                </a:moveTo>
                <a:cubicBezTo>
                  <a:pt x="2462504" y="520119"/>
                  <a:pt x="2472739" y="530354"/>
                  <a:pt x="2472739" y="542979"/>
                </a:cubicBezTo>
                <a:cubicBezTo>
                  <a:pt x="2472739" y="549292"/>
                  <a:pt x="2470181" y="555007"/>
                  <a:pt x="2466044" y="559144"/>
                </a:cubicBezTo>
                <a:lnTo>
                  <a:pt x="2451598" y="565127"/>
                </a:lnTo>
                <a:lnTo>
                  <a:pt x="2449247" y="565577"/>
                </a:lnTo>
                <a:lnTo>
                  <a:pt x="2433715" y="559144"/>
                </a:lnTo>
                <a:cubicBezTo>
                  <a:pt x="2429578" y="555007"/>
                  <a:pt x="2427019" y="549292"/>
                  <a:pt x="2427019" y="542979"/>
                </a:cubicBezTo>
                <a:cubicBezTo>
                  <a:pt x="2427019" y="530354"/>
                  <a:pt x="2437254" y="520119"/>
                  <a:pt x="2449879" y="520119"/>
                </a:cubicBezTo>
                <a:close/>
                <a:moveTo>
                  <a:pt x="2262934" y="520119"/>
                </a:moveTo>
                <a:cubicBezTo>
                  <a:pt x="2275559" y="520119"/>
                  <a:pt x="2285794" y="530354"/>
                  <a:pt x="2285794" y="542979"/>
                </a:cubicBezTo>
                <a:cubicBezTo>
                  <a:pt x="2285794" y="555604"/>
                  <a:pt x="2275559" y="565839"/>
                  <a:pt x="2262934" y="565839"/>
                </a:cubicBezTo>
                <a:cubicBezTo>
                  <a:pt x="2250309" y="565839"/>
                  <a:pt x="2240074" y="555604"/>
                  <a:pt x="2240074" y="542979"/>
                </a:cubicBezTo>
                <a:cubicBezTo>
                  <a:pt x="2240074" y="530354"/>
                  <a:pt x="2250309" y="520119"/>
                  <a:pt x="2262934" y="520119"/>
                </a:cubicBezTo>
                <a:close/>
                <a:moveTo>
                  <a:pt x="2075989" y="520119"/>
                </a:moveTo>
                <a:cubicBezTo>
                  <a:pt x="2088614" y="520119"/>
                  <a:pt x="2098849" y="530354"/>
                  <a:pt x="2098849" y="542979"/>
                </a:cubicBezTo>
                <a:cubicBezTo>
                  <a:pt x="2098849" y="555604"/>
                  <a:pt x="2088614" y="565839"/>
                  <a:pt x="2075989" y="565839"/>
                </a:cubicBezTo>
                <a:cubicBezTo>
                  <a:pt x="2063364" y="565839"/>
                  <a:pt x="2053129" y="555604"/>
                  <a:pt x="2053129" y="542979"/>
                </a:cubicBezTo>
                <a:cubicBezTo>
                  <a:pt x="2053129" y="530354"/>
                  <a:pt x="2063364" y="520119"/>
                  <a:pt x="2075989" y="520119"/>
                </a:cubicBezTo>
                <a:close/>
                <a:moveTo>
                  <a:pt x="1889044" y="520119"/>
                </a:moveTo>
                <a:cubicBezTo>
                  <a:pt x="1901669" y="520119"/>
                  <a:pt x="1911904" y="530354"/>
                  <a:pt x="1911904" y="542979"/>
                </a:cubicBezTo>
                <a:cubicBezTo>
                  <a:pt x="1911904" y="555604"/>
                  <a:pt x="1901669" y="565839"/>
                  <a:pt x="1889044" y="565839"/>
                </a:cubicBezTo>
                <a:cubicBezTo>
                  <a:pt x="1876419" y="565839"/>
                  <a:pt x="1866184" y="555604"/>
                  <a:pt x="1866184" y="542979"/>
                </a:cubicBezTo>
                <a:cubicBezTo>
                  <a:pt x="1866184" y="530354"/>
                  <a:pt x="1876419" y="520119"/>
                  <a:pt x="1889044" y="520119"/>
                </a:cubicBezTo>
                <a:close/>
                <a:moveTo>
                  <a:pt x="1702099" y="520119"/>
                </a:moveTo>
                <a:cubicBezTo>
                  <a:pt x="1714724" y="520119"/>
                  <a:pt x="1724959" y="530354"/>
                  <a:pt x="1724959" y="542979"/>
                </a:cubicBezTo>
                <a:cubicBezTo>
                  <a:pt x="1724959" y="555604"/>
                  <a:pt x="1714724" y="565839"/>
                  <a:pt x="1702099" y="565839"/>
                </a:cubicBezTo>
                <a:cubicBezTo>
                  <a:pt x="1689474" y="565839"/>
                  <a:pt x="1679239" y="555604"/>
                  <a:pt x="1679239" y="542979"/>
                </a:cubicBezTo>
                <a:cubicBezTo>
                  <a:pt x="1679239" y="530354"/>
                  <a:pt x="1689474" y="520119"/>
                  <a:pt x="1702099" y="520119"/>
                </a:cubicBezTo>
                <a:close/>
                <a:moveTo>
                  <a:pt x="1515154" y="520119"/>
                </a:moveTo>
                <a:cubicBezTo>
                  <a:pt x="1527779" y="520119"/>
                  <a:pt x="1538014" y="530354"/>
                  <a:pt x="1538014" y="542979"/>
                </a:cubicBezTo>
                <a:cubicBezTo>
                  <a:pt x="1538014" y="555604"/>
                  <a:pt x="1527779" y="565839"/>
                  <a:pt x="1515154" y="565839"/>
                </a:cubicBezTo>
                <a:cubicBezTo>
                  <a:pt x="1502529" y="565839"/>
                  <a:pt x="1492294" y="555604"/>
                  <a:pt x="1492294" y="542979"/>
                </a:cubicBezTo>
                <a:cubicBezTo>
                  <a:pt x="1492294" y="530354"/>
                  <a:pt x="1502529" y="520119"/>
                  <a:pt x="1515154" y="520119"/>
                </a:cubicBezTo>
                <a:close/>
                <a:moveTo>
                  <a:pt x="1328209" y="520119"/>
                </a:moveTo>
                <a:cubicBezTo>
                  <a:pt x="1340834" y="520119"/>
                  <a:pt x="1351069" y="530354"/>
                  <a:pt x="1351069" y="542979"/>
                </a:cubicBezTo>
                <a:cubicBezTo>
                  <a:pt x="1351069" y="555604"/>
                  <a:pt x="1340834" y="565839"/>
                  <a:pt x="1328209" y="565839"/>
                </a:cubicBezTo>
                <a:cubicBezTo>
                  <a:pt x="1315584" y="565839"/>
                  <a:pt x="1305349" y="555604"/>
                  <a:pt x="1305349" y="542979"/>
                </a:cubicBezTo>
                <a:cubicBezTo>
                  <a:pt x="1305349" y="530354"/>
                  <a:pt x="1315584" y="520119"/>
                  <a:pt x="1328209" y="520119"/>
                </a:cubicBezTo>
                <a:close/>
                <a:moveTo>
                  <a:pt x="1536305" y="373733"/>
                </a:moveTo>
                <a:lnTo>
                  <a:pt x="1531319" y="385771"/>
                </a:lnTo>
                <a:cubicBezTo>
                  <a:pt x="1527182" y="389908"/>
                  <a:pt x="1521467" y="392466"/>
                  <a:pt x="1515154" y="392466"/>
                </a:cubicBezTo>
                <a:lnTo>
                  <a:pt x="1504568" y="388081"/>
                </a:lnTo>
                <a:close/>
                <a:moveTo>
                  <a:pt x="5261225" y="350695"/>
                </a:moveTo>
                <a:lnTo>
                  <a:pt x="5290579" y="362269"/>
                </a:lnTo>
                <a:lnTo>
                  <a:pt x="5293618" y="369606"/>
                </a:lnTo>
                <a:cubicBezTo>
                  <a:pt x="5293618" y="382231"/>
                  <a:pt x="5283383" y="392466"/>
                  <a:pt x="5270758" y="392466"/>
                </a:cubicBezTo>
                <a:cubicBezTo>
                  <a:pt x="5258133" y="392466"/>
                  <a:pt x="5247898" y="382231"/>
                  <a:pt x="5247898" y="369606"/>
                </a:cubicBezTo>
                <a:cubicBezTo>
                  <a:pt x="5247898" y="363294"/>
                  <a:pt x="5250457" y="357579"/>
                  <a:pt x="5254594" y="353442"/>
                </a:cubicBezTo>
                <a:close/>
                <a:moveTo>
                  <a:pt x="5083813" y="346746"/>
                </a:moveTo>
                <a:cubicBezTo>
                  <a:pt x="5096438" y="346746"/>
                  <a:pt x="5106673" y="356981"/>
                  <a:pt x="5106673" y="369606"/>
                </a:cubicBezTo>
                <a:cubicBezTo>
                  <a:pt x="5106673" y="382231"/>
                  <a:pt x="5096438" y="392466"/>
                  <a:pt x="5083813" y="392466"/>
                </a:cubicBezTo>
                <a:cubicBezTo>
                  <a:pt x="5071188" y="392466"/>
                  <a:pt x="5060953" y="382231"/>
                  <a:pt x="5060953" y="369606"/>
                </a:cubicBezTo>
                <a:cubicBezTo>
                  <a:pt x="5060953" y="356981"/>
                  <a:pt x="5071188" y="346746"/>
                  <a:pt x="5083813" y="346746"/>
                </a:cubicBezTo>
                <a:close/>
                <a:moveTo>
                  <a:pt x="4896868" y="346746"/>
                </a:moveTo>
                <a:cubicBezTo>
                  <a:pt x="4909493" y="346746"/>
                  <a:pt x="4919728" y="356981"/>
                  <a:pt x="4919728" y="369606"/>
                </a:cubicBezTo>
                <a:cubicBezTo>
                  <a:pt x="4919728" y="382231"/>
                  <a:pt x="4909493" y="392466"/>
                  <a:pt x="4896868" y="392466"/>
                </a:cubicBezTo>
                <a:cubicBezTo>
                  <a:pt x="4884243" y="392466"/>
                  <a:pt x="4874008" y="382231"/>
                  <a:pt x="4874008" y="369606"/>
                </a:cubicBezTo>
                <a:cubicBezTo>
                  <a:pt x="4874008" y="356981"/>
                  <a:pt x="4884243" y="346746"/>
                  <a:pt x="4896868" y="346746"/>
                </a:cubicBezTo>
                <a:close/>
                <a:moveTo>
                  <a:pt x="4709923" y="346746"/>
                </a:moveTo>
                <a:cubicBezTo>
                  <a:pt x="4722548" y="346746"/>
                  <a:pt x="4732783" y="356981"/>
                  <a:pt x="4732783" y="369606"/>
                </a:cubicBezTo>
                <a:cubicBezTo>
                  <a:pt x="4732783" y="382231"/>
                  <a:pt x="4722548" y="392466"/>
                  <a:pt x="4709923" y="392466"/>
                </a:cubicBezTo>
                <a:cubicBezTo>
                  <a:pt x="4697298" y="392466"/>
                  <a:pt x="4687063" y="382231"/>
                  <a:pt x="4687063" y="369606"/>
                </a:cubicBezTo>
                <a:cubicBezTo>
                  <a:pt x="4687063" y="356981"/>
                  <a:pt x="4697298" y="346746"/>
                  <a:pt x="4709923" y="346746"/>
                </a:cubicBezTo>
                <a:close/>
                <a:moveTo>
                  <a:pt x="4522978" y="346746"/>
                </a:moveTo>
                <a:cubicBezTo>
                  <a:pt x="4535603" y="346746"/>
                  <a:pt x="4545838" y="356981"/>
                  <a:pt x="4545838" y="369606"/>
                </a:cubicBezTo>
                <a:cubicBezTo>
                  <a:pt x="4545838" y="382231"/>
                  <a:pt x="4535603" y="392466"/>
                  <a:pt x="4522978" y="392466"/>
                </a:cubicBezTo>
                <a:cubicBezTo>
                  <a:pt x="4510353" y="392466"/>
                  <a:pt x="4500118" y="382231"/>
                  <a:pt x="4500118" y="369606"/>
                </a:cubicBezTo>
                <a:cubicBezTo>
                  <a:pt x="4500118" y="356981"/>
                  <a:pt x="4510353" y="346746"/>
                  <a:pt x="4522978" y="346746"/>
                </a:cubicBezTo>
                <a:close/>
                <a:moveTo>
                  <a:pt x="4336033" y="346746"/>
                </a:moveTo>
                <a:cubicBezTo>
                  <a:pt x="4348658" y="346746"/>
                  <a:pt x="4358893" y="356981"/>
                  <a:pt x="4358893" y="369606"/>
                </a:cubicBezTo>
                <a:cubicBezTo>
                  <a:pt x="4358893" y="382231"/>
                  <a:pt x="4348658" y="392466"/>
                  <a:pt x="4336033" y="392466"/>
                </a:cubicBezTo>
                <a:cubicBezTo>
                  <a:pt x="4323408" y="392466"/>
                  <a:pt x="4313173" y="382231"/>
                  <a:pt x="4313173" y="369606"/>
                </a:cubicBezTo>
                <a:cubicBezTo>
                  <a:pt x="4313173" y="356981"/>
                  <a:pt x="4323408" y="346746"/>
                  <a:pt x="4336033" y="346746"/>
                </a:cubicBezTo>
                <a:close/>
                <a:moveTo>
                  <a:pt x="4132393" y="346746"/>
                </a:moveTo>
                <a:cubicBezTo>
                  <a:pt x="4145018" y="346746"/>
                  <a:pt x="4155253" y="356981"/>
                  <a:pt x="4155253" y="369606"/>
                </a:cubicBezTo>
                <a:cubicBezTo>
                  <a:pt x="4155253" y="382231"/>
                  <a:pt x="4145018" y="392466"/>
                  <a:pt x="4132393" y="392466"/>
                </a:cubicBezTo>
                <a:cubicBezTo>
                  <a:pt x="4119768" y="392466"/>
                  <a:pt x="4109533" y="382231"/>
                  <a:pt x="4109533" y="369606"/>
                </a:cubicBezTo>
                <a:cubicBezTo>
                  <a:pt x="4109533" y="356981"/>
                  <a:pt x="4119768" y="346746"/>
                  <a:pt x="4132393" y="346746"/>
                </a:cubicBezTo>
                <a:close/>
                <a:moveTo>
                  <a:pt x="3945439" y="346746"/>
                </a:moveTo>
                <a:cubicBezTo>
                  <a:pt x="3958064" y="346746"/>
                  <a:pt x="3968299" y="356981"/>
                  <a:pt x="3968299" y="369606"/>
                </a:cubicBezTo>
                <a:cubicBezTo>
                  <a:pt x="3968299" y="382231"/>
                  <a:pt x="3958064" y="392466"/>
                  <a:pt x="3945439" y="392466"/>
                </a:cubicBezTo>
                <a:cubicBezTo>
                  <a:pt x="3932814" y="392466"/>
                  <a:pt x="3922579" y="382231"/>
                  <a:pt x="3922579" y="369606"/>
                </a:cubicBezTo>
                <a:cubicBezTo>
                  <a:pt x="3922579" y="356981"/>
                  <a:pt x="3932814" y="346746"/>
                  <a:pt x="3945439" y="346746"/>
                </a:cubicBezTo>
                <a:close/>
                <a:moveTo>
                  <a:pt x="3758494" y="346746"/>
                </a:moveTo>
                <a:cubicBezTo>
                  <a:pt x="3771119" y="346746"/>
                  <a:pt x="3781354" y="356981"/>
                  <a:pt x="3781354" y="369606"/>
                </a:cubicBezTo>
                <a:cubicBezTo>
                  <a:pt x="3781354" y="382231"/>
                  <a:pt x="3771119" y="392466"/>
                  <a:pt x="3758494" y="392466"/>
                </a:cubicBezTo>
                <a:cubicBezTo>
                  <a:pt x="3745869" y="392466"/>
                  <a:pt x="3735634" y="382231"/>
                  <a:pt x="3735634" y="369606"/>
                </a:cubicBezTo>
                <a:cubicBezTo>
                  <a:pt x="3735634" y="356981"/>
                  <a:pt x="3745869" y="346746"/>
                  <a:pt x="3758494" y="346746"/>
                </a:cubicBezTo>
                <a:close/>
                <a:moveTo>
                  <a:pt x="3571549" y="346746"/>
                </a:moveTo>
                <a:cubicBezTo>
                  <a:pt x="3584174" y="346746"/>
                  <a:pt x="3594409" y="356981"/>
                  <a:pt x="3594409" y="369606"/>
                </a:cubicBezTo>
                <a:cubicBezTo>
                  <a:pt x="3594409" y="382231"/>
                  <a:pt x="3584174" y="392466"/>
                  <a:pt x="3571549" y="392466"/>
                </a:cubicBezTo>
                <a:cubicBezTo>
                  <a:pt x="3558924" y="392466"/>
                  <a:pt x="3548689" y="382231"/>
                  <a:pt x="3548689" y="369606"/>
                </a:cubicBezTo>
                <a:cubicBezTo>
                  <a:pt x="3548689" y="356981"/>
                  <a:pt x="3558924" y="346746"/>
                  <a:pt x="3571549" y="346746"/>
                </a:cubicBezTo>
                <a:close/>
                <a:moveTo>
                  <a:pt x="3384604" y="346746"/>
                </a:moveTo>
                <a:cubicBezTo>
                  <a:pt x="3397229" y="346746"/>
                  <a:pt x="3407464" y="356981"/>
                  <a:pt x="3407464" y="369606"/>
                </a:cubicBezTo>
                <a:cubicBezTo>
                  <a:pt x="3407464" y="382231"/>
                  <a:pt x="3397229" y="392466"/>
                  <a:pt x="3384604" y="392466"/>
                </a:cubicBezTo>
                <a:cubicBezTo>
                  <a:pt x="3371979" y="392466"/>
                  <a:pt x="3361744" y="382231"/>
                  <a:pt x="3361744" y="369606"/>
                </a:cubicBezTo>
                <a:cubicBezTo>
                  <a:pt x="3361744" y="356981"/>
                  <a:pt x="3371979" y="346746"/>
                  <a:pt x="3384604" y="346746"/>
                </a:cubicBezTo>
                <a:close/>
                <a:moveTo>
                  <a:pt x="3197659" y="346746"/>
                </a:moveTo>
                <a:cubicBezTo>
                  <a:pt x="3210284" y="346746"/>
                  <a:pt x="3220519" y="356981"/>
                  <a:pt x="3220519" y="369606"/>
                </a:cubicBezTo>
                <a:cubicBezTo>
                  <a:pt x="3220519" y="382231"/>
                  <a:pt x="3210284" y="392466"/>
                  <a:pt x="3197659" y="392466"/>
                </a:cubicBezTo>
                <a:cubicBezTo>
                  <a:pt x="3185034" y="392466"/>
                  <a:pt x="3174799" y="382231"/>
                  <a:pt x="3174799" y="369606"/>
                </a:cubicBezTo>
                <a:cubicBezTo>
                  <a:pt x="3174799" y="356981"/>
                  <a:pt x="3185034" y="346746"/>
                  <a:pt x="3197659" y="346746"/>
                </a:cubicBezTo>
                <a:close/>
                <a:moveTo>
                  <a:pt x="3010714" y="346746"/>
                </a:moveTo>
                <a:cubicBezTo>
                  <a:pt x="3023339" y="346746"/>
                  <a:pt x="3033574" y="356981"/>
                  <a:pt x="3033574" y="369606"/>
                </a:cubicBezTo>
                <a:cubicBezTo>
                  <a:pt x="3033574" y="382231"/>
                  <a:pt x="3023339" y="392466"/>
                  <a:pt x="3010714" y="392466"/>
                </a:cubicBezTo>
                <a:cubicBezTo>
                  <a:pt x="2998089" y="392466"/>
                  <a:pt x="2987854" y="382231"/>
                  <a:pt x="2987854" y="369606"/>
                </a:cubicBezTo>
                <a:cubicBezTo>
                  <a:pt x="2987854" y="356981"/>
                  <a:pt x="2998089" y="346746"/>
                  <a:pt x="3010714" y="346746"/>
                </a:cubicBezTo>
                <a:close/>
                <a:moveTo>
                  <a:pt x="2823769" y="346746"/>
                </a:moveTo>
                <a:cubicBezTo>
                  <a:pt x="2836394" y="346746"/>
                  <a:pt x="2846629" y="356981"/>
                  <a:pt x="2846629" y="369606"/>
                </a:cubicBezTo>
                <a:cubicBezTo>
                  <a:pt x="2846629" y="382231"/>
                  <a:pt x="2836394" y="392466"/>
                  <a:pt x="2823769" y="392466"/>
                </a:cubicBezTo>
                <a:cubicBezTo>
                  <a:pt x="2811144" y="392466"/>
                  <a:pt x="2800909" y="382231"/>
                  <a:pt x="2800909" y="369606"/>
                </a:cubicBezTo>
                <a:cubicBezTo>
                  <a:pt x="2800909" y="356981"/>
                  <a:pt x="2811144" y="346746"/>
                  <a:pt x="2823769" y="346746"/>
                </a:cubicBezTo>
                <a:close/>
                <a:moveTo>
                  <a:pt x="2636824" y="346746"/>
                </a:moveTo>
                <a:cubicBezTo>
                  <a:pt x="2649449" y="346746"/>
                  <a:pt x="2659684" y="356981"/>
                  <a:pt x="2659684" y="369606"/>
                </a:cubicBezTo>
                <a:cubicBezTo>
                  <a:pt x="2659684" y="382231"/>
                  <a:pt x="2649449" y="392466"/>
                  <a:pt x="2636824" y="392466"/>
                </a:cubicBezTo>
                <a:cubicBezTo>
                  <a:pt x="2624199" y="392466"/>
                  <a:pt x="2613964" y="382231"/>
                  <a:pt x="2613964" y="369606"/>
                </a:cubicBezTo>
                <a:cubicBezTo>
                  <a:pt x="2613964" y="356981"/>
                  <a:pt x="2624199" y="346746"/>
                  <a:pt x="2636824" y="346746"/>
                </a:cubicBezTo>
                <a:close/>
                <a:moveTo>
                  <a:pt x="2449879" y="346746"/>
                </a:moveTo>
                <a:cubicBezTo>
                  <a:pt x="2462504" y="346746"/>
                  <a:pt x="2472739" y="356981"/>
                  <a:pt x="2472739" y="369606"/>
                </a:cubicBezTo>
                <a:cubicBezTo>
                  <a:pt x="2472739" y="382231"/>
                  <a:pt x="2462504" y="392466"/>
                  <a:pt x="2449879" y="392466"/>
                </a:cubicBezTo>
                <a:cubicBezTo>
                  <a:pt x="2437254" y="392466"/>
                  <a:pt x="2427019" y="382231"/>
                  <a:pt x="2427019" y="369606"/>
                </a:cubicBezTo>
                <a:cubicBezTo>
                  <a:pt x="2427019" y="356981"/>
                  <a:pt x="2437254" y="346746"/>
                  <a:pt x="2449879" y="346746"/>
                </a:cubicBezTo>
                <a:close/>
                <a:moveTo>
                  <a:pt x="2262934" y="346746"/>
                </a:moveTo>
                <a:cubicBezTo>
                  <a:pt x="2275559" y="346746"/>
                  <a:pt x="2285794" y="356981"/>
                  <a:pt x="2285794" y="369606"/>
                </a:cubicBezTo>
                <a:cubicBezTo>
                  <a:pt x="2285794" y="382231"/>
                  <a:pt x="2275559" y="392466"/>
                  <a:pt x="2262934" y="392466"/>
                </a:cubicBezTo>
                <a:cubicBezTo>
                  <a:pt x="2250309" y="392466"/>
                  <a:pt x="2240074" y="382231"/>
                  <a:pt x="2240074" y="369606"/>
                </a:cubicBezTo>
                <a:cubicBezTo>
                  <a:pt x="2240074" y="356981"/>
                  <a:pt x="2250309" y="346746"/>
                  <a:pt x="2262934" y="346746"/>
                </a:cubicBezTo>
                <a:close/>
                <a:moveTo>
                  <a:pt x="2075989" y="346746"/>
                </a:moveTo>
                <a:cubicBezTo>
                  <a:pt x="2088614" y="346746"/>
                  <a:pt x="2098849" y="356981"/>
                  <a:pt x="2098849" y="369606"/>
                </a:cubicBezTo>
                <a:cubicBezTo>
                  <a:pt x="2098849" y="382231"/>
                  <a:pt x="2088614" y="392466"/>
                  <a:pt x="2075989" y="392466"/>
                </a:cubicBezTo>
                <a:cubicBezTo>
                  <a:pt x="2063364" y="392466"/>
                  <a:pt x="2053129" y="382231"/>
                  <a:pt x="2053129" y="369606"/>
                </a:cubicBezTo>
                <a:cubicBezTo>
                  <a:pt x="2053129" y="356981"/>
                  <a:pt x="2063364" y="346746"/>
                  <a:pt x="2075989" y="346746"/>
                </a:cubicBezTo>
                <a:close/>
                <a:moveTo>
                  <a:pt x="1889044" y="346746"/>
                </a:moveTo>
                <a:cubicBezTo>
                  <a:pt x="1901669" y="346746"/>
                  <a:pt x="1911904" y="356981"/>
                  <a:pt x="1911904" y="369606"/>
                </a:cubicBezTo>
                <a:cubicBezTo>
                  <a:pt x="1911904" y="382231"/>
                  <a:pt x="1901669" y="392466"/>
                  <a:pt x="1889044" y="392466"/>
                </a:cubicBezTo>
                <a:cubicBezTo>
                  <a:pt x="1876419" y="392466"/>
                  <a:pt x="1866184" y="382231"/>
                  <a:pt x="1866184" y="369606"/>
                </a:cubicBezTo>
                <a:cubicBezTo>
                  <a:pt x="1866184" y="356981"/>
                  <a:pt x="1876419" y="346746"/>
                  <a:pt x="1889044" y="346746"/>
                </a:cubicBezTo>
                <a:close/>
                <a:moveTo>
                  <a:pt x="1702099" y="346746"/>
                </a:moveTo>
                <a:cubicBezTo>
                  <a:pt x="1714724" y="346746"/>
                  <a:pt x="1724959" y="356981"/>
                  <a:pt x="1724959" y="369606"/>
                </a:cubicBezTo>
                <a:cubicBezTo>
                  <a:pt x="1724959" y="382231"/>
                  <a:pt x="1714724" y="392466"/>
                  <a:pt x="1702099" y="392466"/>
                </a:cubicBezTo>
                <a:cubicBezTo>
                  <a:pt x="1689474" y="392466"/>
                  <a:pt x="1679239" y="382231"/>
                  <a:pt x="1679239" y="369606"/>
                </a:cubicBezTo>
                <a:cubicBezTo>
                  <a:pt x="1679239" y="356981"/>
                  <a:pt x="1689474" y="346746"/>
                  <a:pt x="1702099" y="346746"/>
                </a:cubicBezTo>
                <a:close/>
                <a:moveTo>
                  <a:pt x="4880592" y="212127"/>
                </a:moveTo>
                <a:lnTo>
                  <a:pt x="4898807" y="218290"/>
                </a:lnTo>
                <a:lnTo>
                  <a:pt x="4896868" y="219093"/>
                </a:lnTo>
                <a:cubicBezTo>
                  <a:pt x="4890556" y="219093"/>
                  <a:pt x="4884841" y="216535"/>
                  <a:pt x="4880704" y="212398"/>
                </a:cubicBezTo>
                <a:close/>
                <a:moveTo>
                  <a:pt x="2088405" y="178516"/>
                </a:moveTo>
                <a:lnTo>
                  <a:pt x="2092154" y="180069"/>
                </a:lnTo>
                <a:cubicBezTo>
                  <a:pt x="2096291" y="184206"/>
                  <a:pt x="2098849" y="189921"/>
                  <a:pt x="2098849" y="196233"/>
                </a:cubicBezTo>
                <a:cubicBezTo>
                  <a:pt x="2098849" y="208858"/>
                  <a:pt x="2088614" y="219093"/>
                  <a:pt x="2075989" y="219093"/>
                </a:cubicBezTo>
                <a:cubicBezTo>
                  <a:pt x="2063364" y="219093"/>
                  <a:pt x="2053129" y="208858"/>
                  <a:pt x="2053129" y="196233"/>
                </a:cubicBezTo>
                <a:lnTo>
                  <a:pt x="2056744" y="187507"/>
                </a:lnTo>
                <a:close/>
                <a:moveTo>
                  <a:pt x="4709923" y="173373"/>
                </a:moveTo>
                <a:cubicBezTo>
                  <a:pt x="4722548" y="173373"/>
                  <a:pt x="4732783" y="183608"/>
                  <a:pt x="4732783" y="196233"/>
                </a:cubicBezTo>
                <a:cubicBezTo>
                  <a:pt x="4732783" y="208858"/>
                  <a:pt x="4722548" y="219093"/>
                  <a:pt x="4709923" y="219093"/>
                </a:cubicBezTo>
                <a:cubicBezTo>
                  <a:pt x="4697298" y="219093"/>
                  <a:pt x="4687063" y="208858"/>
                  <a:pt x="4687063" y="196233"/>
                </a:cubicBezTo>
                <a:cubicBezTo>
                  <a:pt x="4687063" y="183608"/>
                  <a:pt x="4697298" y="173373"/>
                  <a:pt x="4709923" y="173373"/>
                </a:cubicBezTo>
                <a:close/>
                <a:moveTo>
                  <a:pt x="4522978" y="173373"/>
                </a:moveTo>
                <a:cubicBezTo>
                  <a:pt x="4535603" y="173373"/>
                  <a:pt x="4545838" y="183608"/>
                  <a:pt x="4545838" y="196233"/>
                </a:cubicBezTo>
                <a:cubicBezTo>
                  <a:pt x="4545838" y="208858"/>
                  <a:pt x="4535603" y="219093"/>
                  <a:pt x="4522978" y="219093"/>
                </a:cubicBezTo>
                <a:cubicBezTo>
                  <a:pt x="4510353" y="219093"/>
                  <a:pt x="4500118" y="208858"/>
                  <a:pt x="4500118" y="196233"/>
                </a:cubicBezTo>
                <a:cubicBezTo>
                  <a:pt x="4500118" y="183608"/>
                  <a:pt x="4510353" y="173373"/>
                  <a:pt x="4522978" y="173373"/>
                </a:cubicBezTo>
                <a:close/>
                <a:moveTo>
                  <a:pt x="4336033" y="173373"/>
                </a:moveTo>
                <a:cubicBezTo>
                  <a:pt x="4348658" y="173373"/>
                  <a:pt x="4358893" y="183608"/>
                  <a:pt x="4358893" y="196233"/>
                </a:cubicBezTo>
                <a:cubicBezTo>
                  <a:pt x="4358893" y="208858"/>
                  <a:pt x="4348658" y="219093"/>
                  <a:pt x="4336033" y="219093"/>
                </a:cubicBezTo>
                <a:cubicBezTo>
                  <a:pt x="4323408" y="219093"/>
                  <a:pt x="4313173" y="208858"/>
                  <a:pt x="4313173" y="196233"/>
                </a:cubicBezTo>
                <a:cubicBezTo>
                  <a:pt x="4313173" y="183608"/>
                  <a:pt x="4323408" y="173373"/>
                  <a:pt x="4336033" y="173373"/>
                </a:cubicBezTo>
                <a:close/>
                <a:moveTo>
                  <a:pt x="4132393" y="173373"/>
                </a:moveTo>
                <a:cubicBezTo>
                  <a:pt x="4145018" y="173373"/>
                  <a:pt x="4155253" y="183608"/>
                  <a:pt x="4155253" y="196233"/>
                </a:cubicBezTo>
                <a:cubicBezTo>
                  <a:pt x="4155253" y="208858"/>
                  <a:pt x="4145018" y="219093"/>
                  <a:pt x="4132393" y="219093"/>
                </a:cubicBezTo>
                <a:cubicBezTo>
                  <a:pt x="4119768" y="219093"/>
                  <a:pt x="4109533" y="208858"/>
                  <a:pt x="4109533" y="196233"/>
                </a:cubicBezTo>
                <a:cubicBezTo>
                  <a:pt x="4109533" y="183608"/>
                  <a:pt x="4119768" y="173373"/>
                  <a:pt x="4132393" y="173373"/>
                </a:cubicBezTo>
                <a:close/>
                <a:moveTo>
                  <a:pt x="3945439" y="173373"/>
                </a:moveTo>
                <a:cubicBezTo>
                  <a:pt x="3958064" y="173373"/>
                  <a:pt x="3968299" y="183608"/>
                  <a:pt x="3968299" y="196233"/>
                </a:cubicBezTo>
                <a:cubicBezTo>
                  <a:pt x="3968299" y="208858"/>
                  <a:pt x="3958064" y="219093"/>
                  <a:pt x="3945439" y="219093"/>
                </a:cubicBezTo>
                <a:cubicBezTo>
                  <a:pt x="3932814" y="219093"/>
                  <a:pt x="3922579" y="208858"/>
                  <a:pt x="3922579" y="196233"/>
                </a:cubicBezTo>
                <a:cubicBezTo>
                  <a:pt x="3922579" y="183608"/>
                  <a:pt x="3932814" y="173373"/>
                  <a:pt x="3945439" y="173373"/>
                </a:cubicBezTo>
                <a:close/>
                <a:moveTo>
                  <a:pt x="3758494" y="173373"/>
                </a:moveTo>
                <a:cubicBezTo>
                  <a:pt x="3771119" y="173373"/>
                  <a:pt x="3781354" y="183608"/>
                  <a:pt x="3781354" y="196233"/>
                </a:cubicBezTo>
                <a:cubicBezTo>
                  <a:pt x="3781354" y="208858"/>
                  <a:pt x="3771119" y="219093"/>
                  <a:pt x="3758494" y="219093"/>
                </a:cubicBezTo>
                <a:cubicBezTo>
                  <a:pt x="3745869" y="219093"/>
                  <a:pt x="3735634" y="208858"/>
                  <a:pt x="3735634" y="196233"/>
                </a:cubicBezTo>
                <a:cubicBezTo>
                  <a:pt x="3735634" y="183608"/>
                  <a:pt x="3745869" y="173373"/>
                  <a:pt x="3758494" y="173373"/>
                </a:cubicBezTo>
                <a:close/>
                <a:moveTo>
                  <a:pt x="3571549" y="173373"/>
                </a:moveTo>
                <a:cubicBezTo>
                  <a:pt x="3584174" y="173373"/>
                  <a:pt x="3594409" y="183608"/>
                  <a:pt x="3594409" y="196233"/>
                </a:cubicBezTo>
                <a:cubicBezTo>
                  <a:pt x="3594409" y="208858"/>
                  <a:pt x="3584174" y="219093"/>
                  <a:pt x="3571549" y="219093"/>
                </a:cubicBezTo>
                <a:cubicBezTo>
                  <a:pt x="3558924" y="219093"/>
                  <a:pt x="3548689" y="208858"/>
                  <a:pt x="3548689" y="196233"/>
                </a:cubicBezTo>
                <a:cubicBezTo>
                  <a:pt x="3548689" y="183608"/>
                  <a:pt x="3558924" y="173373"/>
                  <a:pt x="3571549" y="173373"/>
                </a:cubicBezTo>
                <a:close/>
                <a:moveTo>
                  <a:pt x="3384604" y="173373"/>
                </a:moveTo>
                <a:cubicBezTo>
                  <a:pt x="3397229" y="173373"/>
                  <a:pt x="3407464" y="183608"/>
                  <a:pt x="3407464" y="196233"/>
                </a:cubicBezTo>
                <a:cubicBezTo>
                  <a:pt x="3407464" y="208858"/>
                  <a:pt x="3397229" y="219093"/>
                  <a:pt x="3384604" y="219093"/>
                </a:cubicBezTo>
                <a:cubicBezTo>
                  <a:pt x="3371979" y="219093"/>
                  <a:pt x="3361744" y="208858"/>
                  <a:pt x="3361744" y="196233"/>
                </a:cubicBezTo>
                <a:cubicBezTo>
                  <a:pt x="3361744" y="183608"/>
                  <a:pt x="3371979" y="173373"/>
                  <a:pt x="3384604" y="173373"/>
                </a:cubicBezTo>
                <a:close/>
                <a:moveTo>
                  <a:pt x="3197659" y="173373"/>
                </a:moveTo>
                <a:cubicBezTo>
                  <a:pt x="3210284" y="173373"/>
                  <a:pt x="3220519" y="183608"/>
                  <a:pt x="3220519" y="196233"/>
                </a:cubicBezTo>
                <a:cubicBezTo>
                  <a:pt x="3220519" y="208858"/>
                  <a:pt x="3210284" y="219093"/>
                  <a:pt x="3197659" y="219093"/>
                </a:cubicBezTo>
                <a:cubicBezTo>
                  <a:pt x="3185034" y="219093"/>
                  <a:pt x="3174799" y="208858"/>
                  <a:pt x="3174799" y="196233"/>
                </a:cubicBezTo>
                <a:cubicBezTo>
                  <a:pt x="3174799" y="183608"/>
                  <a:pt x="3185034" y="173373"/>
                  <a:pt x="3197659" y="173373"/>
                </a:cubicBezTo>
                <a:close/>
                <a:moveTo>
                  <a:pt x="3010714" y="173373"/>
                </a:moveTo>
                <a:cubicBezTo>
                  <a:pt x="3023339" y="173373"/>
                  <a:pt x="3033574" y="183608"/>
                  <a:pt x="3033574" y="196233"/>
                </a:cubicBezTo>
                <a:cubicBezTo>
                  <a:pt x="3033574" y="208858"/>
                  <a:pt x="3023339" y="219093"/>
                  <a:pt x="3010714" y="219093"/>
                </a:cubicBezTo>
                <a:cubicBezTo>
                  <a:pt x="2998089" y="219093"/>
                  <a:pt x="2987854" y="208858"/>
                  <a:pt x="2987854" y="196233"/>
                </a:cubicBezTo>
                <a:cubicBezTo>
                  <a:pt x="2987854" y="183608"/>
                  <a:pt x="2998089" y="173373"/>
                  <a:pt x="3010714" y="173373"/>
                </a:cubicBezTo>
                <a:close/>
                <a:moveTo>
                  <a:pt x="2823769" y="173373"/>
                </a:moveTo>
                <a:cubicBezTo>
                  <a:pt x="2836394" y="173373"/>
                  <a:pt x="2846629" y="183608"/>
                  <a:pt x="2846629" y="196233"/>
                </a:cubicBezTo>
                <a:cubicBezTo>
                  <a:pt x="2846629" y="208858"/>
                  <a:pt x="2836394" y="219093"/>
                  <a:pt x="2823769" y="219093"/>
                </a:cubicBezTo>
                <a:cubicBezTo>
                  <a:pt x="2811144" y="219093"/>
                  <a:pt x="2800909" y="208858"/>
                  <a:pt x="2800909" y="196233"/>
                </a:cubicBezTo>
                <a:cubicBezTo>
                  <a:pt x="2800909" y="183608"/>
                  <a:pt x="2811144" y="173373"/>
                  <a:pt x="2823769" y="173373"/>
                </a:cubicBezTo>
                <a:close/>
                <a:moveTo>
                  <a:pt x="2636824" y="173373"/>
                </a:moveTo>
                <a:cubicBezTo>
                  <a:pt x="2649449" y="173373"/>
                  <a:pt x="2659684" y="183608"/>
                  <a:pt x="2659684" y="196233"/>
                </a:cubicBezTo>
                <a:cubicBezTo>
                  <a:pt x="2659684" y="208858"/>
                  <a:pt x="2649449" y="219093"/>
                  <a:pt x="2636824" y="219093"/>
                </a:cubicBezTo>
                <a:cubicBezTo>
                  <a:pt x="2624199" y="219093"/>
                  <a:pt x="2613964" y="208858"/>
                  <a:pt x="2613964" y="196233"/>
                </a:cubicBezTo>
                <a:cubicBezTo>
                  <a:pt x="2613964" y="183608"/>
                  <a:pt x="2624199" y="173373"/>
                  <a:pt x="2636824" y="173373"/>
                </a:cubicBezTo>
                <a:close/>
                <a:moveTo>
                  <a:pt x="2449879" y="173373"/>
                </a:moveTo>
                <a:cubicBezTo>
                  <a:pt x="2462504" y="173373"/>
                  <a:pt x="2472739" y="183608"/>
                  <a:pt x="2472739" y="196233"/>
                </a:cubicBezTo>
                <a:cubicBezTo>
                  <a:pt x="2472739" y="208858"/>
                  <a:pt x="2462504" y="219093"/>
                  <a:pt x="2449879" y="219093"/>
                </a:cubicBezTo>
                <a:cubicBezTo>
                  <a:pt x="2437254" y="219093"/>
                  <a:pt x="2427019" y="208858"/>
                  <a:pt x="2427019" y="196233"/>
                </a:cubicBezTo>
                <a:cubicBezTo>
                  <a:pt x="2427019" y="183608"/>
                  <a:pt x="2437254" y="173373"/>
                  <a:pt x="2449879" y="173373"/>
                </a:cubicBezTo>
                <a:close/>
                <a:moveTo>
                  <a:pt x="2262934" y="173373"/>
                </a:moveTo>
                <a:cubicBezTo>
                  <a:pt x="2275559" y="173373"/>
                  <a:pt x="2285794" y="183608"/>
                  <a:pt x="2285794" y="196233"/>
                </a:cubicBezTo>
                <a:cubicBezTo>
                  <a:pt x="2285794" y="208858"/>
                  <a:pt x="2275559" y="219093"/>
                  <a:pt x="2262934" y="219093"/>
                </a:cubicBezTo>
                <a:cubicBezTo>
                  <a:pt x="2250309" y="219093"/>
                  <a:pt x="2240074" y="208858"/>
                  <a:pt x="2240074" y="196233"/>
                </a:cubicBezTo>
                <a:cubicBezTo>
                  <a:pt x="2240074" y="183608"/>
                  <a:pt x="2250309" y="173373"/>
                  <a:pt x="2262934" y="173373"/>
                </a:cubicBezTo>
                <a:close/>
                <a:moveTo>
                  <a:pt x="4116095" y="38700"/>
                </a:moveTo>
                <a:lnTo>
                  <a:pt x="4141536" y="41933"/>
                </a:lnTo>
                <a:lnTo>
                  <a:pt x="4132393" y="45720"/>
                </a:lnTo>
                <a:cubicBezTo>
                  <a:pt x="4126081" y="45720"/>
                  <a:pt x="4120366" y="43162"/>
                  <a:pt x="4116229" y="39025"/>
                </a:cubicBezTo>
                <a:close/>
                <a:moveTo>
                  <a:pt x="2845735" y="25019"/>
                </a:moveTo>
                <a:lnTo>
                  <a:pt x="2839934" y="39025"/>
                </a:lnTo>
                <a:cubicBezTo>
                  <a:pt x="2835797" y="43162"/>
                  <a:pt x="2830082" y="45720"/>
                  <a:pt x="2823769" y="45720"/>
                </a:cubicBezTo>
                <a:cubicBezTo>
                  <a:pt x="2817457" y="45720"/>
                  <a:pt x="2811742" y="43162"/>
                  <a:pt x="2807605" y="39025"/>
                </a:cubicBezTo>
                <a:lnTo>
                  <a:pt x="2804000" y="30322"/>
                </a:lnTo>
                <a:close/>
                <a:moveTo>
                  <a:pt x="3926023" y="14548"/>
                </a:moveTo>
                <a:lnTo>
                  <a:pt x="3967014" y="19757"/>
                </a:lnTo>
                <a:lnTo>
                  <a:pt x="3968299" y="22860"/>
                </a:lnTo>
                <a:cubicBezTo>
                  <a:pt x="3968299" y="35485"/>
                  <a:pt x="3958064" y="45720"/>
                  <a:pt x="3945439" y="45720"/>
                </a:cubicBezTo>
                <a:cubicBezTo>
                  <a:pt x="3932814" y="45720"/>
                  <a:pt x="3922579" y="35485"/>
                  <a:pt x="3922579" y="22860"/>
                </a:cubicBezTo>
                <a:close/>
                <a:moveTo>
                  <a:pt x="3026904" y="6756"/>
                </a:moveTo>
                <a:lnTo>
                  <a:pt x="3033574" y="22860"/>
                </a:lnTo>
                <a:cubicBezTo>
                  <a:pt x="3033574" y="35485"/>
                  <a:pt x="3023339" y="45720"/>
                  <a:pt x="3010714" y="45720"/>
                </a:cubicBezTo>
                <a:cubicBezTo>
                  <a:pt x="2998089" y="45720"/>
                  <a:pt x="2987854" y="35485"/>
                  <a:pt x="2987854" y="22860"/>
                </a:cubicBezTo>
                <a:lnTo>
                  <a:pt x="2993472" y="9298"/>
                </a:lnTo>
                <a:close/>
                <a:moveTo>
                  <a:pt x="3755379" y="1291"/>
                </a:moveTo>
                <a:lnTo>
                  <a:pt x="3763010" y="1871"/>
                </a:lnTo>
                <a:lnTo>
                  <a:pt x="3774659" y="6696"/>
                </a:lnTo>
                <a:cubicBezTo>
                  <a:pt x="3778796" y="10833"/>
                  <a:pt x="3781354" y="16548"/>
                  <a:pt x="3781354" y="22860"/>
                </a:cubicBezTo>
                <a:cubicBezTo>
                  <a:pt x="3781354" y="35485"/>
                  <a:pt x="3771119" y="45720"/>
                  <a:pt x="3758494" y="45720"/>
                </a:cubicBezTo>
                <a:cubicBezTo>
                  <a:pt x="3745869" y="45720"/>
                  <a:pt x="3735634" y="35485"/>
                  <a:pt x="3735634" y="22860"/>
                </a:cubicBezTo>
                <a:cubicBezTo>
                  <a:pt x="3735634" y="16548"/>
                  <a:pt x="3738193" y="10833"/>
                  <a:pt x="3742330" y="6696"/>
                </a:cubicBezTo>
                <a:close/>
                <a:moveTo>
                  <a:pt x="3571549" y="0"/>
                </a:moveTo>
                <a:cubicBezTo>
                  <a:pt x="3584174" y="0"/>
                  <a:pt x="3594409" y="10235"/>
                  <a:pt x="3594409" y="22860"/>
                </a:cubicBezTo>
                <a:cubicBezTo>
                  <a:pt x="3594409" y="35485"/>
                  <a:pt x="3584174" y="45720"/>
                  <a:pt x="3571549" y="45720"/>
                </a:cubicBezTo>
                <a:cubicBezTo>
                  <a:pt x="3558924" y="45720"/>
                  <a:pt x="3548689" y="35485"/>
                  <a:pt x="3548689" y="22860"/>
                </a:cubicBezTo>
                <a:cubicBezTo>
                  <a:pt x="3548689" y="10235"/>
                  <a:pt x="3558924" y="0"/>
                  <a:pt x="3571549" y="0"/>
                </a:cubicBezTo>
                <a:close/>
                <a:moveTo>
                  <a:pt x="3384604" y="0"/>
                </a:moveTo>
                <a:cubicBezTo>
                  <a:pt x="3397229" y="0"/>
                  <a:pt x="3407464" y="10235"/>
                  <a:pt x="3407464" y="22860"/>
                </a:cubicBezTo>
                <a:cubicBezTo>
                  <a:pt x="3407464" y="35485"/>
                  <a:pt x="3397229" y="45720"/>
                  <a:pt x="3384604" y="45720"/>
                </a:cubicBezTo>
                <a:cubicBezTo>
                  <a:pt x="3371979" y="45720"/>
                  <a:pt x="3361744" y="35485"/>
                  <a:pt x="3361744" y="22860"/>
                </a:cubicBezTo>
                <a:cubicBezTo>
                  <a:pt x="3361744" y="10235"/>
                  <a:pt x="3371979" y="0"/>
                  <a:pt x="3384604" y="0"/>
                </a:cubicBezTo>
                <a:close/>
                <a:moveTo>
                  <a:pt x="3197659" y="0"/>
                </a:moveTo>
                <a:cubicBezTo>
                  <a:pt x="3210284" y="0"/>
                  <a:pt x="3220519" y="10235"/>
                  <a:pt x="3220519" y="22860"/>
                </a:cubicBezTo>
                <a:cubicBezTo>
                  <a:pt x="3220519" y="35485"/>
                  <a:pt x="3210284" y="45720"/>
                  <a:pt x="3197659" y="45720"/>
                </a:cubicBezTo>
                <a:cubicBezTo>
                  <a:pt x="3185034" y="45720"/>
                  <a:pt x="3174799" y="35485"/>
                  <a:pt x="3174799" y="22860"/>
                </a:cubicBezTo>
                <a:cubicBezTo>
                  <a:pt x="3174799" y="10235"/>
                  <a:pt x="3185034" y="0"/>
                  <a:pt x="3197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38000"/>
                </a:scheme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54A5C97-E552-4794-BE43-EBC6F099D2D4}"/>
              </a:ext>
            </a:extLst>
          </p:cNvPr>
          <p:cNvSpPr/>
          <p:nvPr/>
        </p:nvSpPr>
        <p:spPr>
          <a:xfrm flipV="1">
            <a:off x="5170572" y="0"/>
            <a:ext cx="1850857" cy="331204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extBox 1"/>
          <p:cNvSpPr txBox="1"/>
          <p:nvPr/>
        </p:nvSpPr>
        <p:spPr>
          <a:xfrm>
            <a:off x="3775786" y="2505670"/>
            <a:ext cx="45754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1. </a:t>
            </a:r>
            <a:r>
              <a:rPr lang="ko-KR" altLang="en-US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 내용</a:t>
            </a:r>
          </a:p>
        </p:txBody>
      </p:sp>
    </p:spTree>
    <p:extLst>
      <p:ext uri="{BB962C8B-B14F-4D97-AF65-F5344CB8AC3E}">
        <p14:creationId xmlns:p14="http://schemas.microsoft.com/office/powerpoint/2010/main" val="17214650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7">
            <a:extLst>
              <a:ext uri="{FF2B5EF4-FFF2-40B4-BE49-F238E27FC236}">
                <a16:creationId xmlns:a16="http://schemas.microsoft.com/office/drawing/2014/main" id="{335AF259-6FCC-4486-A4D1-F1EB59FAE47C}"/>
              </a:ext>
            </a:extLst>
          </p:cNvPr>
          <p:cNvSpPr/>
          <p:nvPr/>
        </p:nvSpPr>
        <p:spPr>
          <a:xfrm>
            <a:off x="906840" y="2483321"/>
            <a:ext cx="4793800" cy="217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8" name="Rectangle 7">
            <a:extLst>
              <a:ext uri="{FF2B5EF4-FFF2-40B4-BE49-F238E27FC236}">
                <a16:creationId xmlns:a16="http://schemas.microsoft.com/office/drawing/2014/main" id="{335AF259-6FCC-4486-A4D1-F1EB59FAE47C}"/>
              </a:ext>
            </a:extLst>
          </p:cNvPr>
          <p:cNvSpPr/>
          <p:nvPr/>
        </p:nvSpPr>
        <p:spPr>
          <a:xfrm>
            <a:off x="6234719" y="2483321"/>
            <a:ext cx="4783683" cy="217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08656AE-AE47-496F-B384-CB538AA97437}"/>
              </a:ext>
            </a:extLst>
          </p:cNvPr>
          <p:cNvSpPr/>
          <p:nvPr/>
        </p:nvSpPr>
        <p:spPr>
          <a:xfrm rot="16200000">
            <a:off x="10595813" y="3134656"/>
            <a:ext cx="845178" cy="260228"/>
          </a:xfrm>
          <a:custGeom>
            <a:avLst/>
            <a:gdLst>
              <a:gd name="connsiteX0" fmla="*/ 1165081 w 7567987"/>
              <a:gd name="connsiteY0" fmla="*/ 0 h 2330162"/>
              <a:gd name="connsiteX1" fmla="*/ 2330162 w 7567987"/>
              <a:gd name="connsiteY1" fmla="*/ 1165081 h 2330162"/>
              <a:gd name="connsiteX2" fmla="*/ 2327544 w 7567987"/>
              <a:gd name="connsiteY2" fmla="*/ 1165081 h 2330162"/>
              <a:gd name="connsiteX3" fmla="*/ 2910085 w 7567987"/>
              <a:gd name="connsiteY3" fmla="*/ 1747622 h 2330162"/>
              <a:gd name="connsiteX4" fmla="*/ 3492626 w 7567987"/>
              <a:gd name="connsiteY4" fmla="*/ 1165081 h 2330162"/>
              <a:gd name="connsiteX5" fmla="*/ 3492822 w 7567987"/>
              <a:gd name="connsiteY5" fmla="*/ 1165081 h 2330162"/>
              <a:gd name="connsiteX6" fmla="*/ 4657903 w 7567987"/>
              <a:gd name="connsiteY6" fmla="*/ 0 h 2330162"/>
              <a:gd name="connsiteX7" fmla="*/ 5822983 w 7567987"/>
              <a:gd name="connsiteY7" fmla="*/ 1165081 h 2330162"/>
              <a:gd name="connsiteX8" fmla="*/ 5820367 w 7567987"/>
              <a:gd name="connsiteY8" fmla="*/ 1165081 h 2330162"/>
              <a:gd name="connsiteX9" fmla="*/ 6402907 w 7567987"/>
              <a:gd name="connsiteY9" fmla="*/ 1747622 h 2330162"/>
              <a:gd name="connsiteX10" fmla="*/ 6985447 w 7567987"/>
              <a:gd name="connsiteY10" fmla="*/ 1165081 h 2330162"/>
              <a:gd name="connsiteX11" fmla="*/ 7567987 w 7567987"/>
              <a:gd name="connsiteY11" fmla="*/ 1165081 h 2330162"/>
              <a:gd name="connsiteX12" fmla="*/ 6402907 w 7567987"/>
              <a:gd name="connsiteY12" fmla="*/ 2330162 h 2330162"/>
              <a:gd name="connsiteX13" fmla="*/ 5237827 w 7567987"/>
              <a:gd name="connsiteY13" fmla="*/ 1165081 h 2330162"/>
              <a:gd name="connsiteX14" fmla="*/ 5240443 w 7567987"/>
              <a:gd name="connsiteY14" fmla="*/ 1165081 h 2330162"/>
              <a:gd name="connsiteX15" fmla="*/ 4657903 w 7567987"/>
              <a:gd name="connsiteY15" fmla="*/ 582540 h 2330162"/>
              <a:gd name="connsiteX16" fmla="*/ 4075362 w 7567987"/>
              <a:gd name="connsiteY16" fmla="*/ 1165081 h 2330162"/>
              <a:gd name="connsiteX17" fmla="*/ 4075166 w 7567987"/>
              <a:gd name="connsiteY17" fmla="*/ 1165081 h 2330162"/>
              <a:gd name="connsiteX18" fmla="*/ 2910085 w 7567987"/>
              <a:gd name="connsiteY18" fmla="*/ 2330162 h 2330162"/>
              <a:gd name="connsiteX19" fmla="*/ 1745004 w 7567987"/>
              <a:gd name="connsiteY19" fmla="*/ 1165081 h 2330162"/>
              <a:gd name="connsiteX20" fmla="*/ 1747622 w 7567987"/>
              <a:gd name="connsiteY20" fmla="*/ 1165081 h 2330162"/>
              <a:gd name="connsiteX21" fmla="*/ 1165081 w 7567987"/>
              <a:gd name="connsiteY21" fmla="*/ 582540 h 2330162"/>
              <a:gd name="connsiteX22" fmla="*/ 582540 w 7567987"/>
              <a:gd name="connsiteY22" fmla="*/ 1165081 h 2330162"/>
              <a:gd name="connsiteX23" fmla="*/ 0 w 7567987"/>
              <a:gd name="connsiteY23" fmla="*/ 1165081 h 2330162"/>
              <a:gd name="connsiteX24" fmla="*/ 1165081 w 7567987"/>
              <a:gd name="connsiteY24" fmla="*/ 0 h 233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567987" h="2330162">
                <a:moveTo>
                  <a:pt x="1165081" y="0"/>
                </a:moveTo>
                <a:cubicBezTo>
                  <a:pt x="1808537" y="0"/>
                  <a:pt x="2330162" y="521625"/>
                  <a:pt x="2330162" y="1165081"/>
                </a:cubicBezTo>
                <a:lnTo>
                  <a:pt x="2327544" y="1165081"/>
                </a:lnTo>
                <a:cubicBezTo>
                  <a:pt x="2327544" y="1486810"/>
                  <a:pt x="2588356" y="1747622"/>
                  <a:pt x="2910085" y="1747622"/>
                </a:cubicBezTo>
                <a:cubicBezTo>
                  <a:pt x="3231814" y="1747622"/>
                  <a:pt x="3492626" y="1486810"/>
                  <a:pt x="3492626" y="1165081"/>
                </a:cubicBezTo>
                <a:lnTo>
                  <a:pt x="3492822" y="1165081"/>
                </a:lnTo>
                <a:cubicBezTo>
                  <a:pt x="3492822" y="521625"/>
                  <a:pt x="4014447" y="0"/>
                  <a:pt x="4657903" y="0"/>
                </a:cubicBezTo>
                <a:cubicBezTo>
                  <a:pt x="5301359" y="0"/>
                  <a:pt x="5822983" y="521625"/>
                  <a:pt x="5822983" y="1165081"/>
                </a:cubicBezTo>
                <a:lnTo>
                  <a:pt x="5820367" y="1165081"/>
                </a:lnTo>
                <a:cubicBezTo>
                  <a:pt x="5820367" y="1486810"/>
                  <a:pt x="6081179" y="1747622"/>
                  <a:pt x="6402907" y="1747622"/>
                </a:cubicBezTo>
                <a:cubicBezTo>
                  <a:pt x="6724635" y="1747622"/>
                  <a:pt x="6985447" y="1486810"/>
                  <a:pt x="6985447" y="1165081"/>
                </a:cubicBezTo>
                <a:lnTo>
                  <a:pt x="7567987" y="1165081"/>
                </a:lnTo>
                <a:cubicBezTo>
                  <a:pt x="7567987" y="1808537"/>
                  <a:pt x="7046363" y="2330162"/>
                  <a:pt x="6402907" y="2330162"/>
                </a:cubicBezTo>
                <a:cubicBezTo>
                  <a:pt x="5759451" y="2330162"/>
                  <a:pt x="5237827" y="1808537"/>
                  <a:pt x="5237827" y="1165081"/>
                </a:cubicBezTo>
                <a:lnTo>
                  <a:pt x="5240443" y="1165081"/>
                </a:lnTo>
                <a:cubicBezTo>
                  <a:pt x="5240443" y="843352"/>
                  <a:pt x="4979631" y="582540"/>
                  <a:pt x="4657903" y="582540"/>
                </a:cubicBezTo>
                <a:cubicBezTo>
                  <a:pt x="4336174" y="582540"/>
                  <a:pt x="4075362" y="843352"/>
                  <a:pt x="4075362" y="1165081"/>
                </a:cubicBezTo>
                <a:lnTo>
                  <a:pt x="4075166" y="1165081"/>
                </a:lnTo>
                <a:cubicBezTo>
                  <a:pt x="4075166" y="1808537"/>
                  <a:pt x="3553541" y="2330162"/>
                  <a:pt x="2910085" y="2330162"/>
                </a:cubicBezTo>
                <a:cubicBezTo>
                  <a:pt x="2266629" y="2330162"/>
                  <a:pt x="1745004" y="1808537"/>
                  <a:pt x="1745004" y="1165081"/>
                </a:cubicBezTo>
                <a:lnTo>
                  <a:pt x="1747622" y="1165081"/>
                </a:lnTo>
                <a:cubicBezTo>
                  <a:pt x="1747622" y="843352"/>
                  <a:pt x="1486810" y="582540"/>
                  <a:pt x="1165081" y="582540"/>
                </a:cubicBezTo>
                <a:cubicBezTo>
                  <a:pt x="843352" y="582540"/>
                  <a:pt x="582540" y="843352"/>
                  <a:pt x="582540" y="1165081"/>
                </a:cubicBezTo>
                <a:lnTo>
                  <a:pt x="0" y="1165081"/>
                </a:lnTo>
                <a:cubicBezTo>
                  <a:pt x="0" y="521625"/>
                  <a:pt x="521625" y="0"/>
                  <a:pt x="1165081" y="0"/>
                </a:cubicBezTo>
                <a:close/>
              </a:path>
            </a:pathLst>
          </a:custGeom>
          <a:solidFill>
            <a:srgbClr val="E36C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817819-D861-48A4-A120-5723DA77629A}"/>
              </a:ext>
            </a:extLst>
          </p:cNvPr>
          <p:cNvSpPr txBox="1"/>
          <p:nvPr/>
        </p:nvSpPr>
        <p:spPr>
          <a:xfrm>
            <a:off x="1137150" y="3264770"/>
            <a:ext cx="2434762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1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발표자료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2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프로그래밍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3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물품구매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4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조립</a:t>
            </a:r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 </a:t>
            </a:r>
            <a:endParaRPr lang="en-ID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</p:txBody>
      </p:sp>
      <p:cxnSp>
        <p:nvCxnSpPr>
          <p:cNvPr id="18" name="직선 연결선 17"/>
          <p:cNvCxnSpPr/>
          <p:nvPr/>
        </p:nvCxnSpPr>
        <p:spPr>
          <a:xfrm flipH="1">
            <a:off x="5959366" y="2359802"/>
            <a:ext cx="8313" cy="2401384"/>
          </a:xfrm>
          <a:prstGeom prst="line">
            <a:avLst/>
          </a:prstGeom>
          <a:ln w="19050">
            <a:solidFill>
              <a:schemeClr val="tx2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그림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4643" y="2593817"/>
            <a:ext cx="1683554" cy="1683554"/>
          </a:xfrm>
          <a:prstGeom prst="rect">
            <a:avLst/>
          </a:prstGeom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3789" y="2593817"/>
            <a:ext cx="1677836" cy="1677836"/>
          </a:xfrm>
          <a:prstGeom prst="rect">
            <a:avLst/>
          </a:prstGeom>
        </p:spPr>
      </p:pic>
      <p:sp>
        <p:nvSpPr>
          <p:cNvPr id="19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493053" y="344104"/>
            <a:ext cx="11201400" cy="77787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40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1. </a:t>
            </a:r>
            <a:r>
              <a:rPr lang="ko-KR" altLang="en-US" sz="40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 내용</a:t>
            </a:r>
            <a:endParaRPr lang="en-US" sz="40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817819-D861-48A4-A120-5723DA77629A}"/>
              </a:ext>
            </a:extLst>
          </p:cNvPr>
          <p:cNvSpPr txBox="1"/>
          <p:nvPr/>
        </p:nvSpPr>
        <p:spPr>
          <a:xfrm>
            <a:off x="6472250" y="3264770"/>
            <a:ext cx="2434762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1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발표자료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2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프로그래밍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3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물품구매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4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조립</a:t>
            </a:r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 </a:t>
            </a:r>
            <a:endParaRPr lang="en-ID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35068" y="2604919"/>
            <a:ext cx="33317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20194577 </a:t>
            </a:r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김수현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36777" y="2604919"/>
            <a:ext cx="33317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20194535 </a:t>
            </a:r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서진</a:t>
            </a:r>
          </a:p>
        </p:txBody>
      </p:sp>
    </p:spTree>
    <p:extLst>
      <p:ext uri="{BB962C8B-B14F-4D97-AF65-F5344CB8AC3E}">
        <p14:creationId xmlns:p14="http://schemas.microsoft.com/office/powerpoint/2010/main" val="1126598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around a table in a room&#10;&#10;Description automatically generated with low confidence">
            <a:extLst>
              <a:ext uri="{FF2B5EF4-FFF2-40B4-BE49-F238E27FC236}">
                <a16:creationId xmlns:a16="http://schemas.microsoft.com/office/drawing/2014/main" id="{D89096B3-4815-4AFA-A3AE-033BB572A3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3CEF248A-EE26-4B23-87C7-1A0D621217F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170572 w 12192000"/>
              <a:gd name="connsiteY1" fmla="*/ 0 h 6858000"/>
              <a:gd name="connsiteX2" fmla="*/ 5280275 w 12192000"/>
              <a:gd name="connsiteY2" fmla="*/ 82034 h 6858000"/>
              <a:gd name="connsiteX3" fmla="*/ 6096001 w 12192000"/>
              <a:gd name="connsiteY3" fmla="*/ 331204 h 6858000"/>
              <a:gd name="connsiteX4" fmla="*/ 6911727 w 12192000"/>
              <a:gd name="connsiteY4" fmla="*/ 82034 h 6858000"/>
              <a:gd name="connsiteX5" fmla="*/ 7021429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8899357 w 12192000"/>
              <a:gd name="connsiteY8" fmla="*/ 6858000 h 6858000"/>
              <a:gd name="connsiteX9" fmla="*/ 8567040 w 12192000"/>
              <a:gd name="connsiteY9" fmla="*/ 6609498 h 6858000"/>
              <a:gd name="connsiteX10" fmla="*/ 6096000 w 12192000"/>
              <a:gd name="connsiteY10" fmla="*/ 5854699 h 6858000"/>
              <a:gd name="connsiteX11" fmla="*/ 3624960 w 12192000"/>
              <a:gd name="connsiteY11" fmla="*/ 6609498 h 6858000"/>
              <a:gd name="connsiteX12" fmla="*/ 329264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170572" y="0"/>
                </a:lnTo>
                <a:lnTo>
                  <a:pt x="5280275" y="82034"/>
                </a:lnTo>
                <a:cubicBezTo>
                  <a:pt x="5513129" y="239347"/>
                  <a:pt x="5793837" y="331204"/>
                  <a:pt x="6096001" y="331204"/>
                </a:cubicBezTo>
                <a:cubicBezTo>
                  <a:pt x="6398164" y="331204"/>
                  <a:pt x="6678873" y="239347"/>
                  <a:pt x="6911727" y="82034"/>
                </a:cubicBezTo>
                <a:lnTo>
                  <a:pt x="7021429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899357" y="6858000"/>
                </a:lnTo>
                <a:lnTo>
                  <a:pt x="8567040" y="6609498"/>
                </a:lnTo>
                <a:cubicBezTo>
                  <a:pt x="7861668" y="6132957"/>
                  <a:pt x="7011330" y="5854699"/>
                  <a:pt x="6096000" y="5854699"/>
                </a:cubicBezTo>
                <a:cubicBezTo>
                  <a:pt x="5180671" y="5854699"/>
                  <a:pt x="4330333" y="6132957"/>
                  <a:pt x="3624960" y="6609498"/>
                </a:cubicBezTo>
                <a:lnTo>
                  <a:pt x="329264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A940CA9-CB4C-40FD-B152-FD57C62AD5C4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9DC0690-E35F-4DA1-90C1-A93EB1164846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4" name="Partial Circle 13">
            <a:extLst>
              <a:ext uri="{FF2B5EF4-FFF2-40B4-BE49-F238E27FC236}">
                <a16:creationId xmlns:a16="http://schemas.microsoft.com/office/drawing/2014/main" id="{45540C33-6867-4B5D-AEA8-63A574A0011A}"/>
              </a:ext>
            </a:extLst>
          </p:cNvPr>
          <p:cNvSpPr/>
          <p:nvPr/>
        </p:nvSpPr>
        <p:spPr>
          <a:xfrm>
            <a:off x="1964665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Partial Circle 13">
            <a:extLst>
              <a:ext uri="{FF2B5EF4-FFF2-40B4-BE49-F238E27FC236}">
                <a16:creationId xmlns:a16="http://schemas.microsoft.com/office/drawing/2014/main" id="{56D789CF-8891-4CE4-9AA6-D14A1F2B513F}"/>
              </a:ext>
            </a:extLst>
          </p:cNvPr>
          <p:cNvSpPr/>
          <p:nvPr/>
        </p:nvSpPr>
        <p:spPr>
          <a:xfrm flipH="1">
            <a:off x="7733734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FD24EAB-579C-4F58-A41C-D7538CE58088}"/>
              </a:ext>
            </a:extLst>
          </p:cNvPr>
          <p:cNvSpPr/>
          <p:nvPr/>
        </p:nvSpPr>
        <p:spPr>
          <a:xfrm>
            <a:off x="2668922" y="5398411"/>
            <a:ext cx="6789178" cy="1432704"/>
          </a:xfrm>
          <a:custGeom>
            <a:avLst/>
            <a:gdLst>
              <a:gd name="connsiteX0" fmla="*/ 27397 w 6789178"/>
              <a:gd name="connsiteY0" fmla="*/ 1390216 h 1432704"/>
              <a:gd name="connsiteX1" fmla="*/ 35759 w 6789178"/>
              <a:gd name="connsiteY1" fmla="*/ 1393680 h 1432704"/>
              <a:gd name="connsiteX2" fmla="*/ 42454 w 6789178"/>
              <a:gd name="connsiteY2" fmla="*/ 1409844 h 1432704"/>
              <a:gd name="connsiteX3" fmla="*/ 19594 w 6789178"/>
              <a:gd name="connsiteY3" fmla="*/ 1432704 h 1432704"/>
              <a:gd name="connsiteX4" fmla="*/ 3430 w 6789178"/>
              <a:gd name="connsiteY4" fmla="*/ 1426009 h 1432704"/>
              <a:gd name="connsiteX5" fmla="*/ 0 w 6789178"/>
              <a:gd name="connsiteY5" fmla="*/ 1417729 h 1432704"/>
              <a:gd name="connsiteX6" fmla="*/ 14582 w 6789178"/>
              <a:gd name="connsiteY6" fmla="*/ 1402434 h 1432704"/>
              <a:gd name="connsiteX7" fmla="*/ 6766318 w 6789178"/>
              <a:gd name="connsiteY7" fmla="*/ 1386984 h 1432704"/>
              <a:gd name="connsiteX8" fmla="*/ 6789178 w 6789178"/>
              <a:gd name="connsiteY8" fmla="*/ 1409844 h 1432704"/>
              <a:gd name="connsiteX9" fmla="*/ 6766318 w 6789178"/>
              <a:gd name="connsiteY9" fmla="*/ 1432704 h 1432704"/>
              <a:gd name="connsiteX10" fmla="*/ 6743458 w 6789178"/>
              <a:gd name="connsiteY10" fmla="*/ 1409844 h 1432704"/>
              <a:gd name="connsiteX11" fmla="*/ 6766318 w 6789178"/>
              <a:gd name="connsiteY11" fmla="*/ 1386984 h 1432704"/>
              <a:gd name="connsiteX12" fmla="*/ 6579373 w 6789178"/>
              <a:gd name="connsiteY12" fmla="*/ 1386984 h 1432704"/>
              <a:gd name="connsiteX13" fmla="*/ 6602233 w 6789178"/>
              <a:gd name="connsiteY13" fmla="*/ 1409844 h 1432704"/>
              <a:gd name="connsiteX14" fmla="*/ 6579373 w 6789178"/>
              <a:gd name="connsiteY14" fmla="*/ 1432704 h 1432704"/>
              <a:gd name="connsiteX15" fmla="*/ 6556513 w 6789178"/>
              <a:gd name="connsiteY15" fmla="*/ 1409844 h 1432704"/>
              <a:gd name="connsiteX16" fmla="*/ 6579373 w 6789178"/>
              <a:gd name="connsiteY16" fmla="*/ 1386984 h 1432704"/>
              <a:gd name="connsiteX17" fmla="*/ 6392428 w 6789178"/>
              <a:gd name="connsiteY17" fmla="*/ 1386984 h 1432704"/>
              <a:gd name="connsiteX18" fmla="*/ 6415288 w 6789178"/>
              <a:gd name="connsiteY18" fmla="*/ 1409844 h 1432704"/>
              <a:gd name="connsiteX19" fmla="*/ 6392428 w 6789178"/>
              <a:gd name="connsiteY19" fmla="*/ 1432704 h 1432704"/>
              <a:gd name="connsiteX20" fmla="*/ 6369568 w 6789178"/>
              <a:gd name="connsiteY20" fmla="*/ 1409844 h 1432704"/>
              <a:gd name="connsiteX21" fmla="*/ 6392428 w 6789178"/>
              <a:gd name="connsiteY21" fmla="*/ 1386984 h 1432704"/>
              <a:gd name="connsiteX22" fmla="*/ 6205483 w 6789178"/>
              <a:gd name="connsiteY22" fmla="*/ 1386984 h 1432704"/>
              <a:gd name="connsiteX23" fmla="*/ 6228343 w 6789178"/>
              <a:gd name="connsiteY23" fmla="*/ 1409844 h 1432704"/>
              <a:gd name="connsiteX24" fmla="*/ 6205483 w 6789178"/>
              <a:gd name="connsiteY24" fmla="*/ 1432704 h 1432704"/>
              <a:gd name="connsiteX25" fmla="*/ 6182623 w 6789178"/>
              <a:gd name="connsiteY25" fmla="*/ 1409844 h 1432704"/>
              <a:gd name="connsiteX26" fmla="*/ 6205483 w 6789178"/>
              <a:gd name="connsiteY26" fmla="*/ 1386984 h 1432704"/>
              <a:gd name="connsiteX27" fmla="*/ 580429 w 6789178"/>
              <a:gd name="connsiteY27" fmla="*/ 1386984 h 1432704"/>
              <a:gd name="connsiteX28" fmla="*/ 603289 w 6789178"/>
              <a:gd name="connsiteY28" fmla="*/ 1409844 h 1432704"/>
              <a:gd name="connsiteX29" fmla="*/ 580429 w 6789178"/>
              <a:gd name="connsiteY29" fmla="*/ 1432704 h 1432704"/>
              <a:gd name="connsiteX30" fmla="*/ 557569 w 6789178"/>
              <a:gd name="connsiteY30" fmla="*/ 1409844 h 1432704"/>
              <a:gd name="connsiteX31" fmla="*/ 580429 w 6789178"/>
              <a:gd name="connsiteY31" fmla="*/ 1386984 h 1432704"/>
              <a:gd name="connsiteX32" fmla="*/ 393484 w 6789178"/>
              <a:gd name="connsiteY32" fmla="*/ 1386984 h 1432704"/>
              <a:gd name="connsiteX33" fmla="*/ 416344 w 6789178"/>
              <a:gd name="connsiteY33" fmla="*/ 1409844 h 1432704"/>
              <a:gd name="connsiteX34" fmla="*/ 393484 w 6789178"/>
              <a:gd name="connsiteY34" fmla="*/ 1432704 h 1432704"/>
              <a:gd name="connsiteX35" fmla="*/ 370624 w 6789178"/>
              <a:gd name="connsiteY35" fmla="*/ 1409844 h 1432704"/>
              <a:gd name="connsiteX36" fmla="*/ 393484 w 6789178"/>
              <a:gd name="connsiteY36" fmla="*/ 1386984 h 1432704"/>
              <a:gd name="connsiteX37" fmla="*/ 206539 w 6789178"/>
              <a:gd name="connsiteY37" fmla="*/ 1386984 h 1432704"/>
              <a:gd name="connsiteX38" fmla="*/ 229399 w 6789178"/>
              <a:gd name="connsiteY38" fmla="*/ 1409844 h 1432704"/>
              <a:gd name="connsiteX39" fmla="*/ 206539 w 6789178"/>
              <a:gd name="connsiteY39" fmla="*/ 1432704 h 1432704"/>
              <a:gd name="connsiteX40" fmla="*/ 183679 w 6789178"/>
              <a:gd name="connsiteY40" fmla="*/ 1409844 h 1432704"/>
              <a:gd name="connsiteX41" fmla="*/ 206539 w 6789178"/>
              <a:gd name="connsiteY41" fmla="*/ 1386984 h 1432704"/>
              <a:gd name="connsiteX42" fmla="*/ 212734 w 6789178"/>
              <a:gd name="connsiteY42" fmla="*/ 1216177 h 1432704"/>
              <a:gd name="connsiteX43" fmla="*/ 222704 w 6789178"/>
              <a:gd name="connsiteY43" fmla="*/ 1220307 h 1432704"/>
              <a:gd name="connsiteX44" fmla="*/ 229399 w 6789178"/>
              <a:gd name="connsiteY44" fmla="*/ 1236471 h 1432704"/>
              <a:gd name="connsiteX45" fmla="*/ 206539 w 6789178"/>
              <a:gd name="connsiteY45" fmla="*/ 1259331 h 1432704"/>
              <a:gd name="connsiteX46" fmla="*/ 190375 w 6789178"/>
              <a:gd name="connsiteY46" fmla="*/ 1252636 h 1432704"/>
              <a:gd name="connsiteX47" fmla="*/ 185165 w 6789178"/>
              <a:gd name="connsiteY47" fmla="*/ 1240059 h 1432704"/>
              <a:gd name="connsiteX48" fmla="*/ 950606 w 6789178"/>
              <a:gd name="connsiteY48" fmla="*/ 1215149 h 1432704"/>
              <a:gd name="connsiteX49" fmla="*/ 935662 w 6789178"/>
              <a:gd name="connsiteY49" fmla="*/ 1226324 h 1432704"/>
              <a:gd name="connsiteX50" fmla="*/ 938155 w 6789178"/>
              <a:gd name="connsiteY50" fmla="*/ 1220307 h 1432704"/>
              <a:gd name="connsiteX51" fmla="*/ 6579373 w 6789178"/>
              <a:gd name="connsiteY51" fmla="*/ 1213611 h 1432704"/>
              <a:gd name="connsiteX52" fmla="*/ 6602233 w 6789178"/>
              <a:gd name="connsiteY52" fmla="*/ 1236471 h 1432704"/>
              <a:gd name="connsiteX53" fmla="*/ 6579373 w 6789178"/>
              <a:gd name="connsiteY53" fmla="*/ 1259331 h 1432704"/>
              <a:gd name="connsiteX54" fmla="*/ 6556513 w 6789178"/>
              <a:gd name="connsiteY54" fmla="*/ 1236471 h 1432704"/>
              <a:gd name="connsiteX55" fmla="*/ 6579373 w 6789178"/>
              <a:gd name="connsiteY55" fmla="*/ 1213611 h 1432704"/>
              <a:gd name="connsiteX56" fmla="*/ 6392428 w 6789178"/>
              <a:gd name="connsiteY56" fmla="*/ 1213611 h 1432704"/>
              <a:gd name="connsiteX57" fmla="*/ 6415288 w 6789178"/>
              <a:gd name="connsiteY57" fmla="*/ 1236471 h 1432704"/>
              <a:gd name="connsiteX58" fmla="*/ 6392428 w 6789178"/>
              <a:gd name="connsiteY58" fmla="*/ 1259331 h 1432704"/>
              <a:gd name="connsiteX59" fmla="*/ 6369568 w 6789178"/>
              <a:gd name="connsiteY59" fmla="*/ 1236471 h 1432704"/>
              <a:gd name="connsiteX60" fmla="*/ 6392428 w 6789178"/>
              <a:gd name="connsiteY60" fmla="*/ 1213611 h 1432704"/>
              <a:gd name="connsiteX61" fmla="*/ 6205483 w 6789178"/>
              <a:gd name="connsiteY61" fmla="*/ 1213611 h 1432704"/>
              <a:gd name="connsiteX62" fmla="*/ 6228343 w 6789178"/>
              <a:gd name="connsiteY62" fmla="*/ 1236471 h 1432704"/>
              <a:gd name="connsiteX63" fmla="*/ 6205483 w 6789178"/>
              <a:gd name="connsiteY63" fmla="*/ 1259331 h 1432704"/>
              <a:gd name="connsiteX64" fmla="*/ 6182623 w 6789178"/>
              <a:gd name="connsiteY64" fmla="*/ 1236471 h 1432704"/>
              <a:gd name="connsiteX65" fmla="*/ 6205483 w 6789178"/>
              <a:gd name="connsiteY65" fmla="*/ 1213611 h 1432704"/>
              <a:gd name="connsiteX66" fmla="*/ 6018538 w 6789178"/>
              <a:gd name="connsiteY66" fmla="*/ 1213611 h 1432704"/>
              <a:gd name="connsiteX67" fmla="*/ 6041398 w 6789178"/>
              <a:gd name="connsiteY67" fmla="*/ 1236471 h 1432704"/>
              <a:gd name="connsiteX68" fmla="*/ 6018538 w 6789178"/>
              <a:gd name="connsiteY68" fmla="*/ 1259331 h 1432704"/>
              <a:gd name="connsiteX69" fmla="*/ 5995678 w 6789178"/>
              <a:gd name="connsiteY69" fmla="*/ 1236471 h 1432704"/>
              <a:gd name="connsiteX70" fmla="*/ 6018538 w 6789178"/>
              <a:gd name="connsiteY70" fmla="*/ 1213611 h 1432704"/>
              <a:gd name="connsiteX71" fmla="*/ 767374 w 6789178"/>
              <a:gd name="connsiteY71" fmla="*/ 1213611 h 1432704"/>
              <a:gd name="connsiteX72" fmla="*/ 790234 w 6789178"/>
              <a:gd name="connsiteY72" fmla="*/ 1236471 h 1432704"/>
              <a:gd name="connsiteX73" fmla="*/ 767374 w 6789178"/>
              <a:gd name="connsiteY73" fmla="*/ 1259331 h 1432704"/>
              <a:gd name="connsiteX74" fmla="*/ 744514 w 6789178"/>
              <a:gd name="connsiteY74" fmla="*/ 1236471 h 1432704"/>
              <a:gd name="connsiteX75" fmla="*/ 767374 w 6789178"/>
              <a:gd name="connsiteY75" fmla="*/ 1213611 h 1432704"/>
              <a:gd name="connsiteX76" fmla="*/ 580429 w 6789178"/>
              <a:gd name="connsiteY76" fmla="*/ 1213611 h 1432704"/>
              <a:gd name="connsiteX77" fmla="*/ 603289 w 6789178"/>
              <a:gd name="connsiteY77" fmla="*/ 1236471 h 1432704"/>
              <a:gd name="connsiteX78" fmla="*/ 580429 w 6789178"/>
              <a:gd name="connsiteY78" fmla="*/ 1259331 h 1432704"/>
              <a:gd name="connsiteX79" fmla="*/ 557569 w 6789178"/>
              <a:gd name="connsiteY79" fmla="*/ 1236471 h 1432704"/>
              <a:gd name="connsiteX80" fmla="*/ 580429 w 6789178"/>
              <a:gd name="connsiteY80" fmla="*/ 1213611 h 1432704"/>
              <a:gd name="connsiteX81" fmla="*/ 393484 w 6789178"/>
              <a:gd name="connsiteY81" fmla="*/ 1213611 h 1432704"/>
              <a:gd name="connsiteX82" fmla="*/ 416344 w 6789178"/>
              <a:gd name="connsiteY82" fmla="*/ 1236471 h 1432704"/>
              <a:gd name="connsiteX83" fmla="*/ 393484 w 6789178"/>
              <a:gd name="connsiteY83" fmla="*/ 1259331 h 1432704"/>
              <a:gd name="connsiteX84" fmla="*/ 370624 w 6789178"/>
              <a:gd name="connsiteY84" fmla="*/ 1236471 h 1432704"/>
              <a:gd name="connsiteX85" fmla="*/ 393484 w 6789178"/>
              <a:gd name="connsiteY85" fmla="*/ 1213611 h 1432704"/>
              <a:gd name="connsiteX86" fmla="*/ 410549 w 6789178"/>
              <a:gd name="connsiteY86" fmla="*/ 1049107 h 1432704"/>
              <a:gd name="connsiteX87" fmla="*/ 416344 w 6789178"/>
              <a:gd name="connsiteY87" fmla="*/ 1063098 h 1432704"/>
              <a:gd name="connsiteX88" fmla="*/ 393484 w 6789178"/>
              <a:gd name="connsiteY88" fmla="*/ 1085958 h 1432704"/>
              <a:gd name="connsiteX89" fmla="*/ 377320 w 6789178"/>
              <a:gd name="connsiteY89" fmla="*/ 1079263 h 1432704"/>
              <a:gd name="connsiteX90" fmla="*/ 376056 w 6789178"/>
              <a:gd name="connsiteY90" fmla="*/ 1076212 h 1432704"/>
              <a:gd name="connsiteX91" fmla="*/ 6392428 w 6789178"/>
              <a:gd name="connsiteY91" fmla="*/ 1040238 h 1432704"/>
              <a:gd name="connsiteX92" fmla="*/ 6415288 w 6789178"/>
              <a:gd name="connsiteY92" fmla="*/ 1063098 h 1432704"/>
              <a:gd name="connsiteX93" fmla="*/ 6392428 w 6789178"/>
              <a:gd name="connsiteY93" fmla="*/ 1085958 h 1432704"/>
              <a:gd name="connsiteX94" fmla="*/ 6369568 w 6789178"/>
              <a:gd name="connsiteY94" fmla="*/ 1063098 h 1432704"/>
              <a:gd name="connsiteX95" fmla="*/ 6392428 w 6789178"/>
              <a:gd name="connsiteY95" fmla="*/ 1040238 h 1432704"/>
              <a:gd name="connsiteX96" fmla="*/ 6205483 w 6789178"/>
              <a:gd name="connsiteY96" fmla="*/ 1040238 h 1432704"/>
              <a:gd name="connsiteX97" fmla="*/ 6228343 w 6789178"/>
              <a:gd name="connsiteY97" fmla="*/ 1063098 h 1432704"/>
              <a:gd name="connsiteX98" fmla="*/ 6205483 w 6789178"/>
              <a:gd name="connsiteY98" fmla="*/ 1085958 h 1432704"/>
              <a:gd name="connsiteX99" fmla="*/ 6182623 w 6789178"/>
              <a:gd name="connsiteY99" fmla="*/ 1063098 h 1432704"/>
              <a:gd name="connsiteX100" fmla="*/ 6205483 w 6789178"/>
              <a:gd name="connsiteY100" fmla="*/ 1040238 h 1432704"/>
              <a:gd name="connsiteX101" fmla="*/ 6018538 w 6789178"/>
              <a:gd name="connsiteY101" fmla="*/ 1040238 h 1432704"/>
              <a:gd name="connsiteX102" fmla="*/ 6041398 w 6789178"/>
              <a:gd name="connsiteY102" fmla="*/ 1063098 h 1432704"/>
              <a:gd name="connsiteX103" fmla="*/ 6018538 w 6789178"/>
              <a:gd name="connsiteY103" fmla="*/ 1085958 h 1432704"/>
              <a:gd name="connsiteX104" fmla="*/ 5995678 w 6789178"/>
              <a:gd name="connsiteY104" fmla="*/ 1063098 h 1432704"/>
              <a:gd name="connsiteX105" fmla="*/ 6018538 w 6789178"/>
              <a:gd name="connsiteY105" fmla="*/ 1040238 h 1432704"/>
              <a:gd name="connsiteX106" fmla="*/ 5831593 w 6789178"/>
              <a:gd name="connsiteY106" fmla="*/ 1040238 h 1432704"/>
              <a:gd name="connsiteX107" fmla="*/ 5854453 w 6789178"/>
              <a:gd name="connsiteY107" fmla="*/ 1063098 h 1432704"/>
              <a:gd name="connsiteX108" fmla="*/ 5831593 w 6789178"/>
              <a:gd name="connsiteY108" fmla="*/ 1085958 h 1432704"/>
              <a:gd name="connsiteX109" fmla="*/ 5808733 w 6789178"/>
              <a:gd name="connsiteY109" fmla="*/ 1063098 h 1432704"/>
              <a:gd name="connsiteX110" fmla="*/ 5831593 w 6789178"/>
              <a:gd name="connsiteY110" fmla="*/ 1040238 h 1432704"/>
              <a:gd name="connsiteX111" fmla="*/ 5644648 w 6789178"/>
              <a:gd name="connsiteY111" fmla="*/ 1040238 h 1432704"/>
              <a:gd name="connsiteX112" fmla="*/ 5667508 w 6789178"/>
              <a:gd name="connsiteY112" fmla="*/ 1063098 h 1432704"/>
              <a:gd name="connsiteX113" fmla="*/ 5666177 w 6789178"/>
              <a:gd name="connsiteY113" fmla="*/ 1066311 h 1432704"/>
              <a:gd name="connsiteX114" fmla="*/ 5632481 w 6789178"/>
              <a:gd name="connsiteY114" fmla="*/ 1045278 h 1432704"/>
              <a:gd name="connsiteX115" fmla="*/ 1141264 w 6789178"/>
              <a:gd name="connsiteY115" fmla="*/ 1040238 h 1432704"/>
              <a:gd name="connsiteX116" fmla="*/ 1164124 w 6789178"/>
              <a:gd name="connsiteY116" fmla="*/ 1063098 h 1432704"/>
              <a:gd name="connsiteX117" fmla="*/ 1141264 w 6789178"/>
              <a:gd name="connsiteY117" fmla="*/ 1085958 h 1432704"/>
              <a:gd name="connsiteX118" fmla="*/ 1118404 w 6789178"/>
              <a:gd name="connsiteY118" fmla="*/ 1063098 h 1432704"/>
              <a:gd name="connsiteX119" fmla="*/ 1141264 w 6789178"/>
              <a:gd name="connsiteY119" fmla="*/ 1040238 h 1432704"/>
              <a:gd name="connsiteX120" fmla="*/ 954319 w 6789178"/>
              <a:gd name="connsiteY120" fmla="*/ 1040238 h 1432704"/>
              <a:gd name="connsiteX121" fmla="*/ 977179 w 6789178"/>
              <a:gd name="connsiteY121" fmla="*/ 1063098 h 1432704"/>
              <a:gd name="connsiteX122" fmla="*/ 954319 w 6789178"/>
              <a:gd name="connsiteY122" fmla="*/ 1085958 h 1432704"/>
              <a:gd name="connsiteX123" fmla="*/ 931459 w 6789178"/>
              <a:gd name="connsiteY123" fmla="*/ 1063098 h 1432704"/>
              <a:gd name="connsiteX124" fmla="*/ 954319 w 6789178"/>
              <a:gd name="connsiteY124" fmla="*/ 1040238 h 1432704"/>
              <a:gd name="connsiteX125" fmla="*/ 767374 w 6789178"/>
              <a:gd name="connsiteY125" fmla="*/ 1040238 h 1432704"/>
              <a:gd name="connsiteX126" fmla="*/ 790234 w 6789178"/>
              <a:gd name="connsiteY126" fmla="*/ 1063098 h 1432704"/>
              <a:gd name="connsiteX127" fmla="*/ 767374 w 6789178"/>
              <a:gd name="connsiteY127" fmla="*/ 1085958 h 1432704"/>
              <a:gd name="connsiteX128" fmla="*/ 744514 w 6789178"/>
              <a:gd name="connsiteY128" fmla="*/ 1063098 h 1432704"/>
              <a:gd name="connsiteX129" fmla="*/ 767374 w 6789178"/>
              <a:gd name="connsiteY129" fmla="*/ 1040238 h 1432704"/>
              <a:gd name="connsiteX130" fmla="*/ 580429 w 6789178"/>
              <a:gd name="connsiteY130" fmla="*/ 1040238 h 1432704"/>
              <a:gd name="connsiteX131" fmla="*/ 603289 w 6789178"/>
              <a:gd name="connsiteY131" fmla="*/ 1063098 h 1432704"/>
              <a:gd name="connsiteX132" fmla="*/ 580429 w 6789178"/>
              <a:gd name="connsiteY132" fmla="*/ 1085958 h 1432704"/>
              <a:gd name="connsiteX133" fmla="*/ 557569 w 6789178"/>
              <a:gd name="connsiteY133" fmla="*/ 1063098 h 1432704"/>
              <a:gd name="connsiteX134" fmla="*/ 580429 w 6789178"/>
              <a:gd name="connsiteY134" fmla="*/ 1040238 h 1432704"/>
              <a:gd name="connsiteX135" fmla="*/ 6202585 w 6789178"/>
              <a:gd name="connsiteY135" fmla="*/ 868066 h 1432704"/>
              <a:gd name="connsiteX136" fmla="*/ 6226380 w 6789178"/>
              <a:gd name="connsiteY136" fmla="*/ 884987 h 1432704"/>
              <a:gd name="connsiteX137" fmla="*/ 6228343 w 6789178"/>
              <a:gd name="connsiteY137" fmla="*/ 889725 h 1432704"/>
              <a:gd name="connsiteX138" fmla="*/ 6205483 w 6789178"/>
              <a:gd name="connsiteY138" fmla="*/ 912585 h 1432704"/>
              <a:gd name="connsiteX139" fmla="*/ 6182623 w 6789178"/>
              <a:gd name="connsiteY139" fmla="*/ 889725 h 1432704"/>
              <a:gd name="connsiteX140" fmla="*/ 6189319 w 6789178"/>
              <a:gd name="connsiteY140" fmla="*/ 873561 h 1432704"/>
              <a:gd name="connsiteX141" fmla="*/ 6018538 w 6789178"/>
              <a:gd name="connsiteY141" fmla="*/ 866865 h 1432704"/>
              <a:gd name="connsiteX142" fmla="*/ 6041398 w 6789178"/>
              <a:gd name="connsiteY142" fmla="*/ 889725 h 1432704"/>
              <a:gd name="connsiteX143" fmla="*/ 6018538 w 6789178"/>
              <a:gd name="connsiteY143" fmla="*/ 912585 h 1432704"/>
              <a:gd name="connsiteX144" fmla="*/ 5995678 w 6789178"/>
              <a:gd name="connsiteY144" fmla="*/ 889725 h 1432704"/>
              <a:gd name="connsiteX145" fmla="*/ 6018538 w 6789178"/>
              <a:gd name="connsiteY145" fmla="*/ 866865 h 1432704"/>
              <a:gd name="connsiteX146" fmla="*/ 5831593 w 6789178"/>
              <a:gd name="connsiteY146" fmla="*/ 866865 h 1432704"/>
              <a:gd name="connsiteX147" fmla="*/ 5854453 w 6789178"/>
              <a:gd name="connsiteY147" fmla="*/ 889725 h 1432704"/>
              <a:gd name="connsiteX148" fmla="*/ 5831593 w 6789178"/>
              <a:gd name="connsiteY148" fmla="*/ 912585 h 1432704"/>
              <a:gd name="connsiteX149" fmla="*/ 5808733 w 6789178"/>
              <a:gd name="connsiteY149" fmla="*/ 889725 h 1432704"/>
              <a:gd name="connsiteX150" fmla="*/ 5831593 w 6789178"/>
              <a:gd name="connsiteY150" fmla="*/ 866865 h 1432704"/>
              <a:gd name="connsiteX151" fmla="*/ 5644648 w 6789178"/>
              <a:gd name="connsiteY151" fmla="*/ 866865 h 1432704"/>
              <a:gd name="connsiteX152" fmla="*/ 5667508 w 6789178"/>
              <a:gd name="connsiteY152" fmla="*/ 889725 h 1432704"/>
              <a:gd name="connsiteX153" fmla="*/ 5644648 w 6789178"/>
              <a:gd name="connsiteY153" fmla="*/ 912585 h 1432704"/>
              <a:gd name="connsiteX154" fmla="*/ 5621788 w 6789178"/>
              <a:gd name="connsiteY154" fmla="*/ 889725 h 1432704"/>
              <a:gd name="connsiteX155" fmla="*/ 5644648 w 6789178"/>
              <a:gd name="connsiteY155" fmla="*/ 866865 h 1432704"/>
              <a:gd name="connsiteX156" fmla="*/ 5457703 w 6789178"/>
              <a:gd name="connsiteY156" fmla="*/ 866865 h 1432704"/>
              <a:gd name="connsiteX157" fmla="*/ 5480563 w 6789178"/>
              <a:gd name="connsiteY157" fmla="*/ 889725 h 1432704"/>
              <a:gd name="connsiteX158" fmla="*/ 5457703 w 6789178"/>
              <a:gd name="connsiteY158" fmla="*/ 912585 h 1432704"/>
              <a:gd name="connsiteX159" fmla="*/ 5434843 w 6789178"/>
              <a:gd name="connsiteY159" fmla="*/ 889725 h 1432704"/>
              <a:gd name="connsiteX160" fmla="*/ 5457703 w 6789178"/>
              <a:gd name="connsiteY160" fmla="*/ 866865 h 1432704"/>
              <a:gd name="connsiteX161" fmla="*/ 1515154 w 6789178"/>
              <a:gd name="connsiteY161" fmla="*/ 866865 h 1432704"/>
              <a:gd name="connsiteX162" fmla="*/ 1531319 w 6789178"/>
              <a:gd name="connsiteY162" fmla="*/ 873561 h 1432704"/>
              <a:gd name="connsiteX163" fmla="*/ 1534707 w 6789178"/>
              <a:gd name="connsiteY163" fmla="*/ 881740 h 1432704"/>
              <a:gd name="connsiteX164" fmla="*/ 1510999 w 6789178"/>
              <a:gd name="connsiteY164" fmla="*/ 892109 h 1432704"/>
              <a:gd name="connsiteX165" fmla="*/ 1496459 w 6789178"/>
              <a:gd name="connsiteY165" fmla="*/ 899780 h 1432704"/>
              <a:gd name="connsiteX166" fmla="*/ 1492294 w 6789178"/>
              <a:gd name="connsiteY166" fmla="*/ 889725 h 1432704"/>
              <a:gd name="connsiteX167" fmla="*/ 1515154 w 6789178"/>
              <a:gd name="connsiteY167" fmla="*/ 866865 h 1432704"/>
              <a:gd name="connsiteX168" fmla="*/ 1328209 w 6789178"/>
              <a:gd name="connsiteY168" fmla="*/ 866865 h 1432704"/>
              <a:gd name="connsiteX169" fmla="*/ 1351069 w 6789178"/>
              <a:gd name="connsiteY169" fmla="*/ 889725 h 1432704"/>
              <a:gd name="connsiteX170" fmla="*/ 1328209 w 6789178"/>
              <a:gd name="connsiteY170" fmla="*/ 912585 h 1432704"/>
              <a:gd name="connsiteX171" fmla="*/ 1305349 w 6789178"/>
              <a:gd name="connsiteY171" fmla="*/ 889725 h 1432704"/>
              <a:gd name="connsiteX172" fmla="*/ 1328209 w 6789178"/>
              <a:gd name="connsiteY172" fmla="*/ 866865 h 1432704"/>
              <a:gd name="connsiteX173" fmla="*/ 1141264 w 6789178"/>
              <a:gd name="connsiteY173" fmla="*/ 866865 h 1432704"/>
              <a:gd name="connsiteX174" fmla="*/ 1164124 w 6789178"/>
              <a:gd name="connsiteY174" fmla="*/ 889725 h 1432704"/>
              <a:gd name="connsiteX175" fmla="*/ 1141264 w 6789178"/>
              <a:gd name="connsiteY175" fmla="*/ 912585 h 1432704"/>
              <a:gd name="connsiteX176" fmla="*/ 1118404 w 6789178"/>
              <a:gd name="connsiteY176" fmla="*/ 889725 h 1432704"/>
              <a:gd name="connsiteX177" fmla="*/ 1141264 w 6789178"/>
              <a:gd name="connsiteY177" fmla="*/ 866865 h 1432704"/>
              <a:gd name="connsiteX178" fmla="*/ 954319 w 6789178"/>
              <a:gd name="connsiteY178" fmla="*/ 866865 h 1432704"/>
              <a:gd name="connsiteX179" fmla="*/ 977179 w 6789178"/>
              <a:gd name="connsiteY179" fmla="*/ 889725 h 1432704"/>
              <a:gd name="connsiteX180" fmla="*/ 954319 w 6789178"/>
              <a:gd name="connsiteY180" fmla="*/ 912585 h 1432704"/>
              <a:gd name="connsiteX181" fmla="*/ 931459 w 6789178"/>
              <a:gd name="connsiteY181" fmla="*/ 889725 h 1432704"/>
              <a:gd name="connsiteX182" fmla="*/ 954319 w 6789178"/>
              <a:gd name="connsiteY182" fmla="*/ 866865 h 1432704"/>
              <a:gd name="connsiteX183" fmla="*/ 767374 w 6789178"/>
              <a:gd name="connsiteY183" fmla="*/ 866865 h 1432704"/>
              <a:gd name="connsiteX184" fmla="*/ 790234 w 6789178"/>
              <a:gd name="connsiteY184" fmla="*/ 889725 h 1432704"/>
              <a:gd name="connsiteX185" fmla="*/ 767374 w 6789178"/>
              <a:gd name="connsiteY185" fmla="*/ 912585 h 1432704"/>
              <a:gd name="connsiteX186" fmla="*/ 744514 w 6789178"/>
              <a:gd name="connsiteY186" fmla="*/ 889725 h 1432704"/>
              <a:gd name="connsiteX187" fmla="*/ 767374 w 6789178"/>
              <a:gd name="connsiteY187" fmla="*/ 866865 h 1432704"/>
              <a:gd name="connsiteX188" fmla="*/ 5831593 w 6789178"/>
              <a:gd name="connsiteY188" fmla="*/ 693492 h 1432704"/>
              <a:gd name="connsiteX189" fmla="*/ 5854453 w 6789178"/>
              <a:gd name="connsiteY189" fmla="*/ 716352 h 1432704"/>
              <a:gd name="connsiteX190" fmla="*/ 5831593 w 6789178"/>
              <a:gd name="connsiteY190" fmla="*/ 739212 h 1432704"/>
              <a:gd name="connsiteX191" fmla="*/ 5808733 w 6789178"/>
              <a:gd name="connsiteY191" fmla="*/ 716352 h 1432704"/>
              <a:gd name="connsiteX192" fmla="*/ 5831593 w 6789178"/>
              <a:gd name="connsiteY192" fmla="*/ 693492 h 1432704"/>
              <a:gd name="connsiteX193" fmla="*/ 5644648 w 6789178"/>
              <a:gd name="connsiteY193" fmla="*/ 693492 h 1432704"/>
              <a:gd name="connsiteX194" fmla="*/ 5667508 w 6789178"/>
              <a:gd name="connsiteY194" fmla="*/ 716352 h 1432704"/>
              <a:gd name="connsiteX195" fmla="*/ 5644648 w 6789178"/>
              <a:gd name="connsiteY195" fmla="*/ 739212 h 1432704"/>
              <a:gd name="connsiteX196" fmla="*/ 5621788 w 6789178"/>
              <a:gd name="connsiteY196" fmla="*/ 716352 h 1432704"/>
              <a:gd name="connsiteX197" fmla="*/ 5644648 w 6789178"/>
              <a:gd name="connsiteY197" fmla="*/ 693492 h 1432704"/>
              <a:gd name="connsiteX198" fmla="*/ 5457703 w 6789178"/>
              <a:gd name="connsiteY198" fmla="*/ 693492 h 1432704"/>
              <a:gd name="connsiteX199" fmla="*/ 5480563 w 6789178"/>
              <a:gd name="connsiteY199" fmla="*/ 716352 h 1432704"/>
              <a:gd name="connsiteX200" fmla="*/ 5457703 w 6789178"/>
              <a:gd name="connsiteY200" fmla="*/ 739212 h 1432704"/>
              <a:gd name="connsiteX201" fmla="*/ 5434843 w 6789178"/>
              <a:gd name="connsiteY201" fmla="*/ 716352 h 1432704"/>
              <a:gd name="connsiteX202" fmla="*/ 5457703 w 6789178"/>
              <a:gd name="connsiteY202" fmla="*/ 693492 h 1432704"/>
              <a:gd name="connsiteX203" fmla="*/ 5270758 w 6789178"/>
              <a:gd name="connsiteY203" fmla="*/ 693492 h 1432704"/>
              <a:gd name="connsiteX204" fmla="*/ 5293618 w 6789178"/>
              <a:gd name="connsiteY204" fmla="*/ 716352 h 1432704"/>
              <a:gd name="connsiteX205" fmla="*/ 5270758 w 6789178"/>
              <a:gd name="connsiteY205" fmla="*/ 739212 h 1432704"/>
              <a:gd name="connsiteX206" fmla="*/ 5247898 w 6789178"/>
              <a:gd name="connsiteY206" fmla="*/ 716352 h 1432704"/>
              <a:gd name="connsiteX207" fmla="*/ 5270758 w 6789178"/>
              <a:gd name="connsiteY207" fmla="*/ 693492 h 1432704"/>
              <a:gd name="connsiteX208" fmla="*/ 5083813 w 6789178"/>
              <a:gd name="connsiteY208" fmla="*/ 693492 h 1432704"/>
              <a:gd name="connsiteX209" fmla="*/ 5106673 w 6789178"/>
              <a:gd name="connsiteY209" fmla="*/ 716352 h 1432704"/>
              <a:gd name="connsiteX210" fmla="*/ 5083813 w 6789178"/>
              <a:gd name="connsiteY210" fmla="*/ 739212 h 1432704"/>
              <a:gd name="connsiteX211" fmla="*/ 5060953 w 6789178"/>
              <a:gd name="connsiteY211" fmla="*/ 716352 h 1432704"/>
              <a:gd name="connsiteX212" fmla="*/ 5083813 w 6789178"/>
              <a:gd name="connsiteY212" fmla="*/ 693492 h 1432704"/>
              <a:gd name="connsiteX213" fmla="*/ 4896868 w 6789178"/>
              <a:gd name="connsiteY213" fmla="*/ 693492 h 1432704"/>
              <a:gd name="connsiteX214" fmla="*/ 4919728 w 6789178"/>
              <a:gd name="connsiteY214" fmla="*/ 716352 h 1432704"/>
              <a:gd name="connsiteX215" fmla="*/ 4919203 w 6789178"/>
              <a:gd name="connsiteY215" fmla="*/ 717621 h 1432704"/>
              <a:gd name="connsiteX216" fmla="*/ 4879303 w 6789178"/>
              <a:gd name="connsiteY216" fmla="*/ 703570 h 1432704"/>
              <a:gd name="connsiteX217" fmla="*/ 4880704 w 6789178"/>
              <a:gd name="connsiteY217" fmla="*/ 700188 h 1432704"/>
              <a:gd name="connsiteX218" fmla="*/ 4896868 w 6789178"/>
              <a:gd name="connsiteY218" fmla="*/ 693492 h 1432704"/>
              <a:gd name="connsiteX219" fmla="*/ 1889044 w 6789178"/>
              <a:gd name="connsiteY219" fmla="*/ 693492 h 1432704"/>
              <a:gd name="connsiteX220" fmla="*/ 1911904 w 6789178"/>
              <a:gd name="connsiteY220" fmla="*/ 716352 h 1432704"/>
              <a:gd name="connsiteX221" fmla="*/ 1907353 w 6789178"/>
              <a:gd name="connsiteY221" fmla="*/ 727340 h 1432704"/>
              <a:gd name="connsiteX222" fmla="*/ 1881966 w 6789178"/>
              <a:gd name="connsiteY222" fmla="*/ 736280 h 1432704"/>
              <a:gd name="connsiteX223" fmla="*/ 1872880 w 6789178"/>
              <a:gd name="connsiteY223" fmla="*/ 732517 h 1432704"/>
              <a:gd name="connsiteX224" fmla="*/ 1866184 w 6789178"/>
              <a:gd name="connsiteY224" fmla="*/ 716352 h 1432704"/>
              <a:gd name="connsiteX225" fmla="*/ 1889044 w 6789178"/>
              <a:gd name="connsiteY225" fmla="*/ 693492 h 1432704"/>
              <a:gd name="connsiteX226" fmla="*/ 1702099 w 6789178"/>
              <a:gd name="connsiteY226" fmla="*/ 693492 h 1432704"/>
              <a:gd name="connsiteX227" fmla="*/ 1724959 w 6789178"/>
              <a:gd name="connsiteY227" fmla="*/ 716352 h 1432704"/>
              <a:gd name="connsiteX228" fmla="*/ 1702099 w 6789178"/>
              <a:gd name="connsiteY228" fmla="*/ 739212 h 1432704"/>
              <a:gd name="connsiteX229" fmla="*/ 1679239 w 6789178"/>
              <a:gd name="connsiteY229" fmla="*/ 716352 h 1432704"/>
              <a:gd name="connsiteX230" fmla="*/ 1702099 w 6789178"/>
              <a:gd name="connsiteY230" fmla="*/ 693492 h 1432704"/>
              <a:gd name="connsiteX231" fmla="*/ 1515154 w 6789178"/>
              <a:gd name="connsiteY231" fmla="*/ 693492 h 1432704"/>
              <a:gd name="connsiteX232" fmla="*/ 1538014 w 6789178"/>
              <a:gd name="connsiteY232" fmla="*/ 716352 h 1432704"/>
              <a:gd name="connsiteX233" fmla="*/ 1515154 w 6789178"/>
              <a:gd name="connsiteY233" fmla="*/ 739212 h 1432704"/>
              <a:gd name="connsiteX234" fmla="*/ 1492294 w 6789178"/>
              <a:gd name="connsiteY234" fmla="*/ 716352 h 1432704"/>
              <a:gd name="connsiteX235" fmla="*/ 1515154 w 6789178"/>
              <a:gd name="connsiteY235" fmla="*/ 693492 h 1432704"/>
              <a:gd name="connsiteX236" fmla="*/ 1328209 w 6789178"/>
              <a:gd name="connsiteY236" fmla="*/ 693492 h 1432704"/>
              <a:gd name="connsiteX237" fmla="*/ 1351069 w 6789178"/>
              <a:gd name="connsiteY237" fmla="*/ 716352 h 1432704"/>
              <a:gd name="connsiteX238" fmla="*/ 1328209 w 6789178"/>
              <a:gd name="connsiteY238" fmla="*/ 739212 h 1432704"/>
              <a:gd name="connsiteX239" fmla="*/ 1305349 w 6789178"/>
              <a:gd name="connsiteY239" fmla="*/ 716352 h 1432704"/>
              <a:gd name="connsiteX240" fmla="*/ 1328209 w 6789178"/>
              <a:gd name="connsiteY240" fmla="*/ 693492 h 1432704"/>
              <a:gd name="connsiteX241" fmla="*/ 1141264 w 6789178"/>
              <a:gd name="connsiteY241" fmla="*/ 693492 h 1432704"/>
              <a:gd name="connsiteX242" fmla="*/ 1164124 w 6789178"/>
              <a:gd name="connsiteY242" fmla="*/ 716352 h 1432704"/>
              <a:gd name="connsiteX243" fmla="*/ 1141264 w 6789178"/>
              <a:gd name="connsiteY243" fmla="*/ 739212 h 1432704"/>
              <a:gd name="connsiteX244" fmla="*/ 1118404 w 6789178"/>
              <a:gd name="connsiteY244" fmla="*/ 716352 h 1432704"/>
              <a:gd name="connsiteX245" fmla="*/ 1141264 w 6789178"/>
              <a:gd name="connsiteY245" fmla="*/ 693492 h 1432704"/>
              <a:gd name="connsiteX246" fmla="*/ 954319 w 6789178"/>
              <a:gd name="connsiteY246" fmla="*/ 693492 h 1432704"/>
              <a:gd name="connsiteX247" fmla="*/ 977179 w 6789178"/>
              <a:gd name="connsiteY247" fmla="*/ 716352 h 1432704"/>
              <a:gd name="connsiteX248" fmla="*/ 954319 w 6789178"/>
              <a:gd name="connsiteY248" fmla="*/ 739212 h 1432704"/>
              <a:gd name="connsiteX249" fmla="*/ 931459 w 6789178"/>
              <a:gd name="connsiteY249" fmla="*/ 716352 h 1432704"/>
              <a:gd name="connsiteX250" fmla="*/ 954319 w 6789178"/>
              <a:gd name="connsiteY250" fmla="*/ 693492 h 1432704"/>
              <a:gd name="connsiteX251" fmla="*/ 1159252 w 6789178"/>
              <a:gd name="connsiteY251" fmla="*/ 554743 h 1432704"/>
              <a:gd name="connsiteX252" fmla="*/ 1157429 w 6789178"/>
              <a:gd name="connsiteY252" fmla="*/ 559144 h 1432704"/>
              <a:gd name="connsiteX253" fmla="*/ 1141264 w 6789178"/>
              <a:gd name="connsiteY253" fmla="*/ 565839 h 1432704"/>
              <a:gd name="connsiteX254" fmla="*/ 1139231 w 6789178"/>
              <a:gd name="connsiteY254" fmla="*/ 564997 h 1432704"/>
              <a:gd name="connsiteX255" fmla="*/ 5635060 w 6789178"/>
              <a:gd name="connsiteY255" fmla="*/ 524091 h 1432704"/>
              <a:gd name="connsiteX256" fmla="*/ 5666315 w 6789178"/>
              <a:gd name="connsiteY256" fmla="*/ 540099 h 1432704"/>
              <a:gd name="connsiteX257" fmla="*/ 5667508 w 6789178"/>
              <a:gd name="connsiteY257" fmla="*/ 542979 h 1432704"/>
              <a:gd name="connsiteX258" fmla="*/ 5644648 w 6789178"/>
              <a:gd name="connsiteY258" fmla="*/ 565839 h 1432704"/>
              <a:gd name="connsiteX259" fmla="*/ 5621788 w 6789178"/>
              <a:gd name="connsiteY259" fmla="*/ 542979 h 1432704"/>
              <a:gd name="connsiteX260" fmla="*/ 5628484 w 6789178"/>
              <a:gd name="connsiteY260" fmla="*/ 526815 h 1432704"/>
              <a:gd name="connsiteX261" fmla="*/ 5457703 w 6789178"/>
              <a:gd name="connsiteY261" fmla="*/ 520119 h 1432704"/>
              <a:gd name="connsiteX262" fmla="*/ 5480563 w 6789178"/>
              <a:gd name="connsiteY262" fmla="*/ 542979 h 1432704"/>
              <a:gd name="connsiteX263" fmla="*/ 5457703 w 6789178"/>
              <a:gd name="connsiteY263" fmla="*/ 565839 h 1432704"/>
              <a:gd name="connsiteX264" fmla="*/ 5434843 w 6789178"/>
              <a:gd name="connsiteY264" fmla="*/ 542979 h 1432704"/>
              <a:gd name="connsiteX265" fmla="*/ 5457703 w 6789178"/>
              <a:gd name="connsiteY265" fmla="*/ 520119 h 1432704"/>
              <a:gd name="connsiteX266" fmla="*/ 5270758 w 6789178"/>
              <a:gd name="connsiteY266" fmla="*/ 520119 h 1432704"/>
              <a:gd name="connsiteX267" fmla="*/ 5293618 w 6789178"/>
              <a:gd name="connsiteY267" fmla="*/ 542979 h 1432704"/>
              <a:gd name="connsiteX268" fmla="*/ 5270758 w 6789178"/>
              <a:gd name="connsiteY268" fmla="*/ 565839 h 1432704"/>
              <a:gd name="connsiteX269" fmla="*/ 5247898 w 6789178"/>
              <a:gd name="connsiteY269" fmla="*/ 542979 h 1432704"/>
              <a:gd name="connsiteX270" fmla="*/ 5270758 w 6789178"/>
              <a:gd name="connsiteY270" fmla="*/ 520119 h 1432704"/>
              <a:gd name="connsiteX271" fmla="*/ 5083813 w 6789178"/>
              <a:gd name="connsiteY271" fmla="*/ 520119 h 1432704"/>
              <a:gd name="connsiteX272" fmla="*/ 5106673 w 6789178"/>
              <a:gd name="connsiteY272" fmla="*/ 542979 h 1432704"/>
              <a:gd name="connsiteX273" fmla="*/ 5083813 w 6789178"/>
              <a:gd name="connsiteY273" fmla="*/ 565839 h 1432704"/>
              <a:gd name="connsiteX274" fmla="*/ 5060953 w 6789178"/>
              <a:gd name="connsiteY274" fmla="*/ 542979 h 1432704"/>
              <a:gd name="connsiteX275" fmla="*/ 5083813 w 6789178"/>
              <a:gd name="connsiteY275" fmla="*/ 520119 h 1432704"/>
              <a:gd name="connsiteX276" fmla="*/ 4896868 w 6789178"/>
              <a:gd name="connsiteY276" fmla="*/ 520119 h 1432704"/>
              <a:gd name="connsiteX277" fmla="*/ 4919728 w 6789178"/>
              <a:gd name="connsiteY277" fmla="*/ 542979 h 1432704"/>
              <a:gd name="connsiteX278" fmla="*/ 4896868 w 6789178"/>
              <a:gd name="connsiteY278" fmla="*/ 565839 h 1432704"/>
              <a:gd name="connsiteX279" fmla="*/ 4874008 w 6789178"/>
              <a:gd name="connsiteY279" fmla="*/ 542979 h 1432704"/>
              <a:gd name="connsiteX280" fmla="*/ 4896868 w 6789178"/>
              <a:gd name="connsiteY280" fmla="*/ 520119 h 1432704"/>
              <a:gd name="connsiteX281" fmla="*/ 4709923 w 6789178"/>
              <a:gd name="connsiteY281" fmla="*/ 520119 h 1432704"/>
              <a:gd name="connsiteX282" fmla="*/ 4732783 w 6789178"/>
              <a:gd name="connsiteY282" fmla="*/ 542979 h 1432704"/>
              <a:gd name="connsiteX283" fmla="*/ 4709923 w 6789178"/>
              <a:gd name="connsiteY283" fmla="*/ 565839 h 1432704"/>
              <a:gd name="connsiteX284" fmla="*/ 4687063 w 6789178"/>
              <a:gd name="connsiteY284" fmla="*/ 542979 h 1432704"/>
              <a:gd name="connsiteX285" fmla="*/ 4709923 w 6789178"/>
              <a:gd name="connsiteY285" fmla="*/ 520119 h 1432704"/>
              <a:gd name="connsiteX286" fmla="*/ 4522978 w 6789178"/>
              <a:gd name="connsiteY286" fmla="*/ 520119 h 1432704"/>
              <a:gd name="connsiteX287" fmla="*/ 4545838 w 6789178"/>
              <a:gd name="connsiteY287" fmla="*/ 542979 h 1432704"/>
              <a:gd name="connsiteX288" fmla="*/ 4522978 w 6789178"/>
              <a:gd name="connsiteY288" fmla="*/ 565839 h 1432704"/>
              <a:gd name="connsiteX289" fmla="*/ 4500118 w 6789178"/>
              <a:gd name="connsiteY289" fmla="*/ 542979 h 1432704"/>
              <a:gd name="connsiteX290" fmla="*/ 4522978 w 6789178"/>
              <a:gd name="connsiteY290" fmla="*/ 520119 h 1432704"/>
              <a:gd name="connsiteX291" fmla="*/ 4336033 w 6789178"/>
              <a:gd name="connsiteY291" fmla="*/ 520119 h 1432704"/>
              <a:gd name="connsiteX292" fmla="*/ 4358893 w 6789178"/>
              <a:gd name="connsiteY292" fmla="*/ 542979 h 1432704"/>
              <a:gd name="connsiteX293" fmla="*/ 4353603 w 6789178"/>
              <a:gd name="connsiteY293" fmla="*/ 555752 h 1432704"/>
              <a:gd name="connsiteX294" fmla="*/ 4315436 w 6789178"/>
              <a:gd name="connsiteY294" fmla="*/ 548443 h 1432704"/>
              <a:gd name="connsiteX295" fmla="*/ 4313173 w 6789178"/>
              <a:gd name="connsiteY295" fmla="*/ 542979 h 1432704"/>
              <a:gd name="connsiteX296" fmla="*/ 4336033 w 6789178"/>
              <a:gd name="connsiteY296" fmla="*/ 520119 h 1432704"/>
              <a:gd name="connsiteX297" fmla="*/ 2636824 w 6789178"/>
              <a:gd name="connsiteY297" fmla="*/ 520119 h 1432704"/>
              <a:gd name="connsiteX298" fmla="*/ 2652567 w 6789178"/>
              <a:gd name="connsiteY298" fmla="*/ 526640 h 1432704"/>
              <a:gd name="connsiteX299" fmla="*/ 2617989 w 6789178"/>
              <a:gd name="connsiteY299" fmla="*/ 533262 h 1432704"/>
              <a:gd name="connsiteX300" fmla="*/ 2620660 w 6789178"/>
              <a:gd name="connsiteY300" fmla="*/ 526815 h 1432704"/>
              <a:gd name="connsiteX301" fmla="*/ 2636824 w 6789178"/>
              <a:gd name="connsiteY301" fmla="*/ 520119 h 1432704"/>
              <a:gd name="connsiteX302" fmla="*/ 2449879 w 6789178"/>
              <a:gd name="connsiteY302" fmla="*/ 520119 h 1432704"/>
              <a:gd name="connsiteX303" fmla="*/ 2472739 w 6789178"/>
              <a:gd name="connsiteY303" fmla="*/ 542979 h 1432704"/>
              <a:gd name="connsiteX304" fmla="*/ 2466044 w 6789178"/>
              <a:gd name="connsiteY304" fmla="*/ 559144 h 1432704"/>
              <a:gd name="connsiteX305" fmla="*/ 2451598 w 6789178"/>
              <a:gd name="connsiteY305" fmla="*/ 565127 h 1432704"/>
              <a:gd name="connsiteX306" fmla="*/ 2449247 w 6789178"/>
              <a:gd name="connsiteY306" fmla="*/ 565577 h 1432704"/>
              <a:gd name="connsiteX307" fmla="*/ 2433715 w 6789178"/>
              <a:gd name="connsiteY307" fmla="*/ 559144 h 1432704"/>
              <a:gd name="connsiteX308" fmla="*/ 2427019 w 6789178"/>
              <a:gd name="connsiteY308" fmla="*/ 542979 h 1432704"/>
              <a:gd name="connsiteX309" fmla="*/ 2449879 w 6789178"/>
              <a:gd name="connsiteY309" fmla="*/ 520119 h 1432704"/>
              <a:gd name="connsiteX310" fmla="*/ 2262934 w 6789178"/>
              <a:gd name="connsiteY310" fmla="*/ 520119 h 1432704"/>
              <a:gd name="connsiteX311" fmla="*/ 2285794 w 6789178"/>
              <a:gd name="connsiteY311" fmla="*/ 542979 h 1432704"/>
              <a:gd name="connsiteX312" fmla="*/ 2262934 w 6789178"/>
              <a:gd name="connsiteY312" fmla="*/ 565839 h 1432704"/>
              <a:gd name="connsiteX313" fmla="*/ 2240074 w 6789178"/>
              <a:gd name="connsiteY313" fmla="*/ 542979 h 1432704"/>
              <a:gd name="connsiteX314" fmla="*/ 2262934 w 6789178"/>
              <a:gd name="connsiteY314" fmla="*/ 520119 h 1432704"/>
              <a:gd name="connsiteX315" fmla="*/ 2075989 w 6789178"/>
              <a:gd name="connsiteY315" fmla="*/ 520119 h 1432704"/>
              <a:gd name="connsiteX316" fmla="*/ 2098849 w 6789178"/>
              <a:gd name="connsiteY316" fmla="*/ 542979 h 1432704"/>
              <a:gd name="connsiteX317" fmla="*/ 2075989 w 6789178"/>
              <a:gd name="connsiteY317" fmla="*/ 565839 h 1432704"/>
              <a:gd name="connsiteX318" fmla="*/ 2053129 w 6789178"/>
              <a:gd name="connsiteY318" fmla="*/ 542979 h 1432704"/>
              <a:gd name="connsiteX319" fmla="*/ 2075989 w 6789178"/>
              <a:gd name="connsiteY319" fmla="*/ 520119 h 1432704"/>
              <a:gd name="connsiteX320" fmla="*/ 1889044 w 6789178"/>
              <a:gd name="connsiteY320" fmla="*/ 520119 h 1432704"/>
              <a:gd name="connsiteX321" fmla="*/ 1911904 w 6789178"/>
              <a:gd name="connsiteY321" fmla="*/ 542979 h 1432704"/>
              <a:gd name="connsiteX322" fmla="*/ 1889044 w 6789178"/>
              <a:gd name="connsiteY322" fmla="*/ 565839 h 1432704"/>
              <a:gd name="connsiteX323" fmla="*/ 1866184 w 6789178"/>
              <a:gd name="connsiteY323" fmla="*/ 542979 h 1432704"/>
              <a:gd name="connsiteX324" fmla="*/ 1889044 w 6789178"/>
              <a:gd name="connsiteY324" fmla="*/ 520119 h 1432704"/>
              <a:gd name="connsiteX325" fmla="*/ 1702099 w 6789178"/>
              <a:gd name="connsiteY325" fmla="*/ 520119 h 1432704"/>
              <a:gd name="connsiteX326" fmla="*/ 1724959 w 6789178"/>
              <a:gd name="connsiteY326" fmla="*/ 542979 h 1432704"/>
              <a:gd name="connsiteX327" fmla="*/ 1702099 w 6789178"/>
              <a:gd name="connsiteY327" fmla="*/ 565839 h 1432704"/>
              <a:gd name="connsiteX328" fmla="*/ 1679239 w 6789178"/>
              <a:gd name="connsiteY328" fmla="*/ 542979 h 1432704"/>
              <a:gd name="connsiteX329" fmla="*/ 1702099 w 6789178"/>
              <a:gd name="connsiteY329" fmla="*/ 520119 h 1432704"/>
              <a:gd name="connsiteX330" fmla="*/ 1515154 w 6789178"/>
              <a:gd name="connsiteY330" fmla="*/ 520119 h 1432704"/>
              <a:gd name="connsiteX331" fmla="*/ 1538014 w 6789178"/>
              <a:gd name="connsiteY331" fmla="*/ 542979 h 1432704"/>
              <a:gd name="connsiteX332" fmla="*/ 1515154 w 6789178"/>
              <a:gd name="connsiteY332" fmla="*/ 565839 h 1432704"/>
              <a:gd name="connsiteX333" fmla="*/ 1492294 w 6789178"/>
              <a:gd name="connsiteY333" fmla="*/ 542979 h 1432704"/>
              <a:gd name="connsiteX334" fmla="*/ 1515154 w 6789178"/>
              <a:gd name="connsiteY334" fmla="*/ 520119 h 1432704"/>
              <a:gd name="connsiteX335" fmla="*/ 1328209 w 6789178"/>
              <a:gd name="connsiteY335" fmla="*/ 520119 h 1432704"/>
              <a:gd name="connsiteX336" fmla="*/ 1351069 w 6789178"/>
              <a:gd name="connsiteY336" fmla="*/ 542979 h 1432704"/>
              <a:gd name="connsiteX337" fmla="*/ 1328209 w 6789178"/>
              <a:gd name="connsiteY337" fmla="*/ 565839 h 1432704"/>
              <a:gd name="connsiteX338" fmla="*/ 1305349 w 6789178"/>
              <a:gd name="connsiteY338" fmla="*/ 542979 h 1432704"/>
              <a:gd name="connsiteX339" fmla="*/ 1328209 w 6789178"/>
              <a:gd name="connsiteY339" fmla="*/ 520119 h 1432704"/>
              <a:gd name="connsiteX340" fmla="*/ 1536305 w 6789178"/>
              <a:gd name="connsiteY340" fmla="*/ 373733 h 1432704"/>
              <a:gd name="connsiteX341" fmla="*/ 1531319 w 6789178"/>
              <a:gd name="connsiteY341" fmla="*/ 385771 h 1432704"/>
              <a:gd name="connsiteX342" fmla="*/ 1515154 w 6789178"/>
              <a:gd name="connsiteY342" fmla="*/ 392466 h 1432704"/>
              <a:gd name="connsiteX343" fmla="*/ 1504568 w 6789178"/>
              <a:gd name="connsiteY343" fmla="*/ 388081 h 1432704"/>
              <a:gd name="connsiteX344" fmla="*/ 5261225 w 6789178"/>
              <a:gd name="connsiteY344" fmla="*/ 350695 h 1432704"/>
              <a:gd name="connsiteX345" fmla="*/ 5290579 w 6789178"/>
              <a:gd name="connsiteY345" fmla="*/ 362269 h 1432704"/>
              <a:gd name="connsiteX346" fmla="*/ 5293618 w 6789178"/>
              <a:gd name="connsiteY346" fmla="*/ 369606 h 1432704"/>
              <a:gd name="connsiteX347" fmla="*/ 5270758 w 6789178"/>
              <a:gd name="connsiteY347" fmla="*/ 392466 h 1432704"/>
              <a:gd name="connsiteX348" fmla="*/ 5247898 w 6789178"/>
              <a:gd name="connsiteY348" fmla="*/ 369606 h 1432704"/>
              <a:gd name="connsiteX349" fmla="*/ 5254594 w 6789178"/>
              <a:gd name="connsiteY349" fmla="*/ 353442 h 1432704"/>
              <a:gd name="connsiteX350" fmla="*/ 5083813 w 6789178"/>
              <a:gd name="connsiteY350" fmla="*/ 346746 h 1432704"/>
              <a:gd name="connsiteX351" fmla="*/ 5106673 w 6789178"/>
              <a:gd name="connsiteY351" fmla="*/ 369606 h 1432704"/>
              <a:gd name="connsiteX352" fmla="*/ 5083813 w 6789178"/>
              <a:gd name="connsiteY352" fmla="*/ 392466 h 1432704"/>
              <a:gd name="connsiteX353" fmla="*/ 5060953 w 6789178"/>
              <a:gd name="connsiteY353" fmla="*/ 369606 h 1432704"/>
              <a:gd name="connsiteX354" fmla="*/ 5083813 w 6789178"/>
              <a:gd name="connsiteY354" fmla="*/ 346746 h 1432704"/>
              <a:gd name="connsiteX355" fmla="*/ 4896868 w 6789178"/>
              <a:gd name="connsiteY355" fmla="*/ 346746 h 1432704"/>
              <a:gd name="connsiteX356" fmla="*/ 4919728 w 6789178"/>
              <a:gd name="connsiteY356" fmla="*/ 369606 h 1432704"/>
              <a:gd name="connsiteX357" fmla="*/ 4896868 w 6789178"/>
              <a:gd name="connsiteY357" fmla="*/ 392466 h 1432704"/>
              <a:gd name="connsiteX358" fmla="*/ 4874008 w 6789178"/>
              <a:gd name="connsiteY358" fmla="*/ 369606 h 1432704"/>
              <a:gd name="connsiteX359" fmla="*/ 4896868 w 6789178"/>
              <a:gd name="connsiteY359" fmla="*/ 346746 h 1432704"/>
              <a:gd name="connsiteX360" fmla="*/ 4709923 w 6789178"/>
              <a:gd name="connsiteY360" fmla="*/ 346746 h 1432704"/>
              <a:gd name="connsiteX361" fmla="*/ 4732783 w 6789178"/>
              <a:gd name="connsiteY361" fmla="*/ 369606 h 1432704"/>
              <a:gd name="connsiteX362" fmla="*/ 4709923 w 6789178"/>
              <a:gd name="connsiteY362" fmla="*/ 392466 h 1432704"/>
              <a:gd name="connsiteX363" fmla="*/ 4687063 w 6789178"/>
              <a:gd name="connsiteY363" fmla="*/ 369606 h 1432704"/>
              <a:gd name="connsiteX364" fmla="*/ 4709923 w 6789178"/>
              <a:gd name="connsiteY364" fmla="*/ 346746 h 1432704"/>
              <a:gd name="connsiteX365" fmla="*/ 4522978 w 6789178"/>
              <a:gd name="connsiteY365" fmla="*/ 346746 h 1432704"/>
              <a:gd name="connsiteX366" fmla="*/ 4545838 w 6789178"/>
              <a:gd name="connsiteY366" fmla="*/ 369606 h 1432704"/>
              <a:gd name="connsiteX367" fmla="*/ 4522978 w 6789178"/>
              <a:gd name="connsiteY367" fmla="*/ 392466 h 1432704"/>
              <a:gd name="connsiteX368" fmla="*/ 4500118 w 6789178"/>
              <a:gd name="connsiteY368" fmla="*/ 369606 h 1432704"/>
              <a:gd name="connsiteX369" fmla="*/ 4522978 w 6789178"/>
              <a:gd name="connsiteY369" fmla="*/ 346746 h 1432704"/>
              <a:gd name="connsiteX370" fmla="*/ 4336033 w 6789178"/>
              <a:gd name="connsiteY370" fmla="*/ 346746 h 1432704"/>
              <a:gd name="connsiteX371" fmla="*/ 4358893 w 6789178"/>
              <a:gd name="connsiteY371" fmla="*/ 369606 h 1432704"/>
              <a:gd name="connsiteX372" fmla="*/ 4336033 w 6789178"/>
              <a:gd name="connsiteY372" fmla="*/ 392466 h 1432704"/>
              <a:gd name="connsiteX373" fmla="*/ 4313173 w 6789178"/>
              <a:gd name="connsiteY373" fmla="*/ 369606 h 1432704"/>
              <a:gd name="connsiteX374" fmla="*/ 4336033 w 6789178"/>
              <a:gd name="connsiteY374" fmla="*/ 346746 h 1432704"/>
              <a:gd name="connsiteX375" fmla="*/ 4132393 w 6789178"/>
              <a:gd name="connsiteY375" fmla="*/ 346746 h 1432704"/>
              <a:gd name="connsiteX376" fmla="*/ 4155253 w 6789178"/>
              <a:gd name="connsiteY376" fmla="*/ 369606 h 1432704"/>
              <a:gd name="connsiteX377" fmla="*/ 4132393 w 6789178"/>
              <a:gd name="connsiteY377" fmla="*/ 392466 h 1432704"/>
              <a:gd name="connsiteX378" fmla="*/ 4109533 w 6789178"/>
              <a:gd name="connsiteY378" fmla="*/ 369606 h 1432704"/>
              <a:gd name="connsiteX379" fmla="*/ 4132393 w 6789178"/>
              <a:gd name="connsiteY379" fmla="*/ 346746 h 1432704"/>
              <a:gd name="connsiteX380" fmla="*/ 3945439 w 6789178"/>
              <a:gd name="connsiteY380" fmla="*/ 346746 h 1432704"/>
              <a:gd name="connsiteX381" fmla="*/ 3968299 w 6789178"/>
              <a:gd name="connsiteY381" fmla="*/ 369606 h 1432704"/>
              <a:gd name="connsiteX382" fmla="*/ 3945439 w 6789178"/>
              <a:gd name="connsiteY382" fmla="*/ 392466 h 1432704"/>
              <a:gd name="connsiteX383" fmla="*/ 3922579 w 6789178"/>
              <a:gd name="connsiteY383" fmla="*/ 369606 h 1432704"/>
              <a:gd name="connsiteX384" fmla="*/ 3945439 w 6789178"/>
              <a:gd name="connsiteY384" fmla="*/ 346746 h 1432704"/>
              <a:gd name="connsiteX385" fmla="*/ 3758494 w 6789178"/>
              <a:gd name="connsiteY385" fmla="*/ 346746 h 1432704"/>
              <a:gd name="connsiteX386" fmla="*/ 3781354 w 6789178"/>
              <a:gd name="connsiteY386" fmla="*/ 369606 h 1432704"/>
              <a:gd name="connsiteX387" fmla="*/ 3758494 w 6789178"/>
              <a:gd name="connsiteY387" fmla="*/ 392466 h 1432704"/>
              <a:gd name="connsiteX388" fmla="*/ 3735634 w 6789178"/>
              <a:gd name="connsiteY388" fmla="*/ 369606 h 1432704"/>
              <a:gd name="connsiteX389" fmla="*/ 3758494 w 6789178"/>
              <a:gd name="connsiteY389" fmla="*/ 346746 h 1432704"/>
              <a:gd name="connsiteX390" fmla="*/ 3571549 w 6789178"/>
              <a:gd name="connsiteY390" fmla="*/ 346746 h 1432704"/>
              <a:gd name="connsiteX391" fmla="*/ 3594409 w 6789178"/>
              <a:gd name="connsiteY391" fmla="*/ 369606 h 1432704"/>
              <a:gd name="connsiteX392" fmla="*/ 3571549 w 6789178"/>
              <a:gd name="connsiteY392" fmla="*/ 392466 h 1432704"/>
              <a:gd name="connsiteX393" fmla="*/ 3548689 w 6789178"/>
              <a:gd name="connsiteY393" fmla="*/ 369606 h 1432704"/>
              <a:gd name="connsiteX394" fmla="*/ 3571549 w 6789178"/>
              <a:gd name="connsiteY394" fmla="*/ 346746 h 1432704"/>
              <a:gd name="connsiteX395" fmla="*/ 3384604 w 6789178"/>
              <a:gd name="connsiteY395" fmla="*/ 346746 h 1432704"/>
              <a:gd name="connsiteX396" fmla="*/ 3407464 w 6789178"/>
              <a:gd name="connsiteY396" fmla="*/ 369606 h 1432704"/>
              <a:gd name="connsiteX397" fmla="*/ 3384604 w 6789178"/>
              <a:gd name="connsiteY397" fmla="*/ 392466 h 1432704"/>
              <a:gd name="connsiteX398" fmla="*/ 3361744 w 6789178"/>
              <a:gd name="connsiteY398" fmla="*/ 369606 h 1432704"/>
              <a:gd name="connsiteX399" fmla="*/ 3384604 w 6789178"/>
              <a:gd name="connsiteY399" fmla="*/ 346746 h 1432704"/>
              <a:gd name="connsiteX400" fmla="*/ 3197659 w 6789178"/>
              <a:gd name="connsiteY400" fmla="*/ 346746 h 1432704"/>
              <a:gd name="connsiteX401" fmla="*/ 3220519 w 6789178"/>
              <a:gd name="connsiteY401" fmla="*/ 369606 h 1432704"/>
              <a:gd name="connsiteX402" fmla="*/ 3197659 w 6789178"/>
              <a:gd name="connsiteY402" fmla="*/ 392466 h 1432704"/>
              <a:gd name="connsiteX403" fmla="*/ 3174799 w 6789178"/>
              <a:gd name="connsiteY403" fmla="*/ 369606 h 1432704"/>
              <a:gd name="connsiteX404" fmla="*/ 3197659 w 6789178"/>
              <a:gd name="connsiteY404" fmla="*/ 346746 h 1432704"/>
              <a:gd name="connsiteX405" fmla="*/ 3010714 w 6789178"/>
              <a:gd name="connsiteY405" fmla="*/ 346746 h 1432704"/>
              <a:gd name="connsiteX406" fmla="*/ 3033574 w 6789178"/>
              <a:gd name="connsiteY406" fmla="*/ 369606 h 1432704"/>
              <a:gd name="connsiteX407" fmla="*/ 3010714 w 6789178"/>
              <a:gd name="connsiteY407" fmla="*/ 392466 h 1432704"/>
              <a:gd name="connsiteX408" fmla="*/ 2987854 w 6789178"/>
              <a:gd name="connsiteY408" fmla="*/ 369606 h 1432704"/>
              <a:gd name="connsiteX409" fmla="*/ 3010714 w 6789178"/>
              <a:gd name="connsiteY409" fmla="*/ 346746 h 1432704"/>
              <a:gd name="connsiteX410" fmla="*/ 2823769 w 6789178"/>
              <a:gd name="connsiteY410" fmla="*/ 346746 h 1432704"/>
              <a:gd name="connsiteX411" fmla="*/ 2846629 w 6789178"/>
              <a:gd name="connsiteY411" fmla="*/ 369606 h 1432704"/>
              <a:gd name="connsiteX412" fmla="*/ 2823769 w 6789178"/>
              <a:gd name="connsiteY412" fmla="*/ 392466 h 1432704"/>
              <a:gd name="connsiteX413" fmla="*/ 2800909 w 6789178"/>
              <a:gd name="connsiteY413" fmla="*/ 369606 h 1432704"/>
              <a:gd name="connsiteX414" fmla="*/ 2823769 w 6789178"/>
              <a:gd name="connsiteY414" fmla="*/ 346746 h 1432704"/>
              <a:gd name="connsiteX415" fmla="*/ 2636824 w 6789178"/>
              <a:gd name="connsiteY415" fmla="*/ 346746 h 1432704"/>
              <a:gd name="connsiteX416" fmla="*/ 2659684 w 6789178"/>
              <a:gd name="connsiteY416" fmla="*/ 369606 h 1432704"/>
              <a:gd name="connsiteX417" fmla="*/ 2636824 w 6789178"/>
              <a:gd name="connsiteY417" fmla="*/ 392466 h 1432704"/>
              <a:gd name="connsiteX418" fmla="*/ 2613964 w 6789178"/>
              <a:gd name="connsiteY418" fmla="*/ 369606 h 1432704"/>
              <a:gd name="connsiteX419" fmla="*/ 2636824 w 6789178"/>
              <a:gd name="connsiteY419" fmla="*/ 346746 h 1432704"/>
              <a:gd name="connsiteX420" fmla="*/ 2449879 w 6789178"/>
              <a:gd name="connsiteY420" fmla="*/ 346746 h 1432704"/>
              <a:gd name="connsiteX421" fmla="*/ 2472739 w 6789178"/>
              <a:gd name="connsiteY421" fmla="*/ 369606 h 1432704"/>
              <a:gd name="connsiteX422" fmla="*/ 2449879 w 6789178"/>
              <a:gd name="connsiteY422" fmla="*/ 392466 h 1432704"/>
              <a:gd name="connsiteX423" fmla="*/ 2427019 w 6789178"/>
              <a:gd name="connsiteY423" fmla="*/ 369606 h 1432704"/>
              <a:gd name="connsiteX424" fmla="*/ 2449879 w 6789178"/>
              <a:gd name="connsiteY424" fmla="*/ 346746 h 1432704"/>
              <a:gd name="connsiteX425" fmla="*/ 2262934 w 6789178"/>
              <a:gd name="connsiteY425" fmla="*/ 346746 h 1432704"/>
              <a:gd name="connsiteX426" fmla="*/ 2285794 w 6789178"/>
              <a:gd name="connsiteY426" fmla="*/ 369606 h 1432704"/>
              <a:gd name="connsiteX427" fmla="*/ 2262934 w 6789178"/>
              <a:gd name="connsiteY427" fmla="*/ 392466 h 1432704"/>
              <a:gd name="connsiteX428" fmla="*/ 2240074 w 6789178"/>
              <a:gd name="connsiteY428" fmla="*/ 369606 h 1432704"/>
              <a:gd name="connsiteX429" fmla="*/ 2262934 w 6789178"/>
              <a:gd name="connsiteY429" fmla="*/ 346746 h 1432704"/>
              <a:gd name="connsiteX430" fmla="*/ 2075989 w 6789178"/>
              <a:gd name="connsiteY430" fmla="*/ 346746 h 1432704"/>
              <a:gd name="connsiteX431" fmla="*/ 2098849 w 6789178"/>
              <a:gd name="connsiteY431" fmla="*/ 369606 h 1432704"/>
              <a:gd name="connsiteX432" fmla="*/ 2075989 w 6789178"/>
              <a:gd name="connsiteY432" fmla="*/ 392466 h 1432704"/>
              <a:gd name="connsiteX433" fmla="*/ 2053129 w 6789178"/>
              <a:gd name="connsiteY433" fmla="*/ 369606 h 1432704"/>
              <a:gd name="connsiteX434" fmla="*/ 2075989 w 6789178"/>
              <a:gd name="connsiteY434" fmla="*/ 346746 h 1432704"/>
              <a:gd name="connsiteX435" fmla="*/ 1889044 w 6789178"/>
              <a:gd name="connsiteY435" fmla="*/ 346746 h 1432704"/>
              <a:gd name="connsiteX436" fmla="*/ 1911904 w 6789178"/>
              <a:gd name="connsiteY436" fmla="*/ 369606 h 1432704"/>
              <a:gd name="connsiteX437" fmla="*/ 1889044 w 6789178"/>
              <a:gd name="connsiteY437" fmla="*/ 392466 h 1432704"/>
              <a:gd name="connsiteX438" fmla="*/ 1866184 w 6789178"/>
              <a:gd name="connsiteY438" fmla="*/ 369606 h 1432704"/>
              <a:gd name="connsiteX439" fmla="*/ 1889044 w 6789178"/>
              <a:gd name="connsiteY439" fmla="*/ 346746 h 1432704"/>
              <a:gd name="connsiteX440" fmla="*/ 1702099 w 6789178"/>
              <a:gd name="connsiteY440" fmla="*/ 346746 h 1432704"/>
              <a:gd name="connsiteX441" fmla="*/ 1724959 w 6789178"/>
              <a:gd name="connsiteY441" fmla="*/ 369606 h 1432704"/>
              <a:gd name="connsiteX442" fmla="*/ 1702099 w 6789178"/>
              <a:gd name="connsiteY442" fmla="*/ 392466 h 1432704"/>
              <a:gd name="connsiteX443" fmla="*/ 1679239 w 6789178"/>
              <a:gd name="connsiteY443" fmla="*/ 369606 h 1432704"/>
              <a:gd name="connsiteX444" fmla="*/ 1702099 w 6789178"/>
              <a:gd name="connsiteY444" fmla="*/ 346746 h 1432704"/>
              <a:gd name="connsiteX445" fmla="*/ 4880592 w 6789178"/>
              <a:gd name="connsiteY445" fmla="*/ 212127 h 1432704"/>
              <a:gd name="connsiteX446" fmla="*/ 4898807 w 6789178"/>
              <a:gd name="connsiteY446" fmla="*/ 218290 h 1432704"/>
              <a:gd name="connsiteX447" fmla="*/ 4896868 w 6789178"/>
              <a:gd name="connsiteY447" fmla="*/ 219093 h 1432704"/>
              <a:gd name="connsiteX448" fmla="*/ 4880704 w 6789178"/>
              <a:gd name="connsiteY448" fmla="*/ 212398 h 1432704"/>
              <a:gd name="connsiteX449" fmla="*/ 2088405 w 6789178"/>
              <a:gd name="connsiteY449" fmla="*/ 178516 h 1432704"/>
              <a:gd name="connsiteX450" fmla="*/ 2092154 w 6789178"/>
              <a:gd name="connsiteY450" fmla="*/ 180069 h 1432704"/>
              <a:gd name="connsiteX451" fmla="*/ 2098849 w 6789178"/>
              <a:gd name="connsiteY451" fmla="*/ 196233 h 1432704"/>
              <a:gd name="connsiteX452" fmla="*/ 2075989 w 6789178"/>
              <a:gd name="connsiteY452" fmla="*/ 219093 h 1432704"/>
              <a:gd name="connsiteX453" fmla="*/ 2053129 w 6789178"/>
              <a:gd name="connsiteY453" fmla="*/ 196233 h 1432704"/>
              <a:gd name="connsiteX454" fmla="*/ 2056744 w 6789178"/>
              <a:gd name="connsiteY454" fmla="*/ 187507 h 1432704"/>
              <a:gd name="connsiteX455" fmla="*/ 4709923 w 6789178"/>
              <a:gd name="connsiteY455" fmla="*/ 173373 h 1432704"/>
              <a:gd name="connsiteX456" fmla="*/ 4732783 w 6789178"/>
              <a:gd name="connsiteY456" fmla="*/ 196233 h 1432704"/>
              <a:gd name="connsiteX457" fmla="*/ 4709923 w 6789178"/>
              <a:gd name="connsiteY457" fmla="*/ 219093 h 1432704"/>
              <a:gd name="connsiteX458" fmla="*/ 4687063 w 6789178"/>
              <a:gd name="connsiteY458" fmla="*/ 196233 h 1432704"/>
              <a:gd name="connsiteX459" fmla="*/ 4709923 w 6789178"/>
              <a:gd name="connsiteY459" fmla="*/ 173373 h 1432704"/>
              <a:gd name="connsiteX460" fmla="*/ 4522978 w 6789178"/>
              <a:gd name="connsiteY460" fmla="*/ 173373 h 1432704"/>
              <a:gd name="connsiteX461" fmla="*/ 4545838 w 6789178"/>
              <a:gd name="connsiteY461" fmla="*/ 196233 h 1432704"/>
              <a:gd name="connsiteX462" fmla="*/ 4522978 w 6789178"/>
              <a:gd name="connsiteY462" fmla="*/ 219093 h 1432704"/>
              <a:gd name="connsiteX463" fmla="*/ 4500118 w 6789178"/>
              <a:gd name="connsiteY463" fmla="*/ 196233 h 1432704"/>
              <a:gd name="connsiteX464" fmla="*/ 4522978 w 6789178"/>
              <a:gd name="connsiteY464" fmla="*/ 173373 h 1432704"/>
              <a:gd name="connsiteX465" fmla="*/ 4336033 w 6789178"/>
              <a:gd name="connsiteY465" fmla="*/ 173373 h 1432704"/>
              <a:gd name="connsiteX466" fmla="*/ 4358893 w 6789178"/>
              <a:gd name="connsiteY466" fmla="*/ 196233 h 1432704"/>
              <a:gd name="connsiteX467" fmla="*/ 4336033 w 6789178"/>
              <a:gd name="connsiteY467" fmla="*/ 219093 h 1432704"/>
              <a:gd name="connsiteX468" fmla="*/ 4313173 w 6789178"/>
              <a:gd name="connsiteY468" fmla="*/ 196233 h 1432704"/>
              <a:gd name="connsiteX469" fmla="*/ 4336033 w 6789178"/>
              <a:gd name="connsiteY469" fmla="*/ 173373 h 1432704"/>
              <a:gd name="connsiteX470" fmla="*/ 4132393 w 6789178"/>
              <a:gd name="connsiteY470" fmla="*/ 173373 h 1432704"/>
              <a:gd name="connsiteX471" fmla="*/ 4155253 w 6789178"/>
              <a:gd name="connsiteY471" fmla="*/ 196233 h 1432704"/>
              <a:gd name="connsiteX472" fmla="*/ 4132393 w 6789178"/>
              <a:gd name="connsiteY472" fmla="*/ 219093 h 1432704"/>
              <a:gd name="connsiteX473" fmla="*/ 4109533 w 6789178"/>
              <a:gd name="connsiteY473" fmla="*/ 196233 h 1432704"/>
              <a:gd name="connsiteX474" fmla="*/ 4132393 w 6789178"/>
              <a:gd name="connsiteY474" fmla="*/ 173373 h 1432704"/>
              <a:gd name="connsiteX475" fmla="*/ 3945439 w 6789178"/>
              <a:gd name="connsiteY475" fmla="*/ 173373 h 1432704"/>
              <a:gd name="connsiteX476" fmla="*/ 3968299 w 6789178"/>
              <a:gd name="connsiteY476" fmla="*/ 196233 h 1432704"/>
              <a:gd name="connsiteX477" fmla="*/ 3945439 w 6789178"/>
              <a:gd name="connsiteY477" fmla="*/ 219093 h 1432704"/>
              <a:gd name="connsiteX478" fmla="*/ 3922579 w 6789178"/>
              <a:gd name="connsiteY478" fmla="*/ 196233 h 1432704"/>
              <a:gd name="connsiteX479" fmla="*/ 3945439 w 6789178"/>
              <a:gd name="connsiteY479" fmla="*/ 173373 h 1432704"/>
              <a:gd name="connsiteX480" fmla="*/ 3758494 w 6789178"/>
              <a:gd name="connsiteY480" fmla="*/ 173373 h 1432704"/>
              <a:gd name="connsiteX481" fmla="*/ 3781354 w 6789178"/>
              <a:gd name="connsiteY481" fmla="*/ 196233 h 1432704"/>
              <a:gd name="connsiteX482" fmla="*/ 3758494 w 6789178"/>
              <a:gd name="connsiteY482" fmla="*/ 219093 h 1432704"/>
              <a:gd name="connsiteX483" fmla="*/ 3735634 w 6789178"/>
              <a:gd name="connsiteY483" fmla="*/ 196233 h 1432704"/>
              <a:gd name="connsiteX484" fmla="*/ 3758494 w 6789178"/>
              <a:gd name="connsiteY484" fmla="*/ 173373 h 1432704"/>
              <a:gd name="connsiteX485" fmla="*/ 3571549 w 6789178"/>
              <a:gd name="connsiteY485" fmla="*/ 173373 h 1432704"/>
              <a:gd name="connsiteX486" fmla="*/ 3594409 w 6789178"/>
              <a:gd name="connsiteY486" fmla="*/ 196233 h 1432704"/>
              <a:gd name="connsiteX487" fmla="*/ 3571549 w 6789178"/>
              <a:gd name="connsiteY487" fmla="*/ 219093 h 1432704"/>
              <a:gd name="connsiteX488" fmla="*/ 3548689 w 6789178"/>
              <a:gd name="connsiteY488" fmla="*/ 196233 h 1432704"/>
              <a:gd name="connsiteX489" fmla="*/ 3571549 w 6789178"/>
              <a:gd name="connsiteY489" fmla="*/ 173373 h 1432704"/>
              <a:gd name="connsiteX490" fmla="*/ 3384604 w 6789178"/>
              <a:gd name="connsiteY490" fmla="*/ 173373 h 1432704"/>
              <a:gd name="connsiteX491" fmla="*/ 3407464 w 6789178"/>
              <a:gd name="connsiteY491" fmla="*/ 196233 h 1432704"/>
              <a:gd name="connsiteX492" fmla="*/ 3384604 w 6789178"/>
              <a:gd name="connsiteY492" fmla="*/ 219093 h 1432704"/>
              <a:gd name="connsiteX493" fmla="*/ 3361744 w 6789178"/>
              <a:gd name="connsiteY493" fmla="*/ 196233 h 1432704"/>
              <a:gd name="connsiteX494" fmla="*/ 3384604 w 6789178"/>
              <a:gd name="connsiteY494" fmla="*/ 173373 h 1432704"/>
              <a:gd name="connsiteX495" fmla="*/ 3197659 w 6789178"/>
              <a:gd name="connsiteY495" fmla="*/ 173373 h 1432704"/>
              <a:gd name="connsiteX496" fmla="*/ 3220519 w 6789178"/>
              <a:gd name="connsiteY496" fmla="*/ 196233 h 1432704"/>
              <a:gd name="connsiteX497" fmla="*/ 3197659 w 6789178"/>
              <a:gd name="connsiteY497" fmla="*/ 219093 h 1432704"/>
              <a:gd name="connsiteX498" fmla="*/ 3174799 w 6789178"/>
              <a:gd name="connsiteY498" fmla="*/ 196233 h 1432704"/>
              <a:gd name="connsiteX499" fmla="*/ 3197659 w 6789178"/>
              <a:gd name="connsiteY499" fmla="*/ 173373 h 1432704"/>
              <a:gd name="connsiteX500" fmla="*/ 3010714 w 6789178"/>
              <a:gd name="connsiteY500" fmla="*/ 173373 h 1432704"/>
              <a:gd name="connsiteX501" fmla="*/ 3033574 w 6789178"/>
              <a:gd name="connsiteY501" fmla="*/ 196233 h 1432704"/>
              <a:gd name="connsiteX502" fmla="*/ 3010714 w 6789178"/>
              <a:gd name="connsiteY502" fmla="*/ 219093 h 1432704"/>
              <a:gd name="connsiteX503" fmla="*/ 2987854 w 6789178"/>
              <a:gd name="connsiteY503" fmla="*/ 196233 h 1432704"/>
              <a:gd name="connsiteX504" fmla="*/ 3010714 w 6789178"/>
              <a:gd name="connsiteY504" fmla="*/ 173373 h 1432704"/>
              <a:gd name="connsiteX505" fmla="*/ 2823769 w 6789178"/>
              <a:gd name="connsiteY505" fmla="*/ 173373 h 1432704"/>
              <a:gd name="connsiteX506" fmla="*/ 2846629 w 6789178"/>
              <a:gd name="connsiteY506" fmla="*/ 196233 h 1432704"/>
              <a:gd name="connsiteX507" fmla="*/ 2823769 w 6789178"/>
              <a:gd name="connsiteY507" fmla="*/ 219093 h 1432704"/>
              <a:gd name="connsiteX508" fmla="*/ 2800909 w 6789178"/>
              <a:gd name="connsiteY508" fmla="*/ 196233 h 1432704"/>
              <a:gd name="connsiteX509" fmla="*/ 2823769 w 6789178"/>
              <a:gd name="connsiteY509" fmla="*/ 173373 h 1432704"/>
              <a:gd name="connsiteX510" fmla="*/ 2636824 w 6789178"/>
              <a:gd name="connsiteY510" fmla="*/ 173373 h 1432704"/>
              <a:gd name="connsiteX511" fmla="*/ 2659684 w 6789178"/>
              <a:gd name="connsiteY511" fmla="*/ 196233 h 1432704"/>
              <a:gd name="connsiteX512" fmla="*/ 2636824 w 6789178"/>
              <a:gd name="connsiteY512" fmla="*/ 219093 h 1432704"/>
              <a:gd name="connsiteX513" fmla="*/ 2613964 w 6789178"/>
              <a:gd name="connsiteY513" fmla="*/ 196233 h 1432704"/>
              <a:gd name="connsiteX514" fmla="*/ 2636824 w 6789178"/>
              <a:gd name="connsiteY514" fmla="*/ 173373 h 1432704"/>
              <a:gd name="connsiteX515" fmla="*/ 2449879 w 6789178"/>
              <a:gd name="connsiteY515" fmla="*/ 173373 h 1432704"/>
              <a:gd name="connsiteX516" fmla="*/ 2472739 w 6789178"/>
              <a:gd name="connsiteY516" fmla="*/ 196233 h 1432704"/>
              <a:gd name="connsiteX517" fmla="*/ 2449879 w 6789178"/>
              <a:gd name="connsiteY517" fmla="*/ 219093 h 1432704"/>
              <a:gd name="connsiteX518" fmla="*/ 2427019 w 6789178"/>
              <a:gd name="connsiteY518" fmla="*/ 196233 h 1432704"/>
              <a:gd name="connsiteX519" fmla="*/ 2449879 w 6789178"/>
              <a:gd name="connsiteY519" fmla="*/ 173373 h 1432704"/>
              <a:gd name="connsiteX520" fmla="*/ 2262934 w 6789178"/>
              <a:gd name="connsiteY520" fmla="*/ 173373 h 1432704"/>
              <a:gd name="connsiteX521" fmla="*/ 2285794 w 6789178"/>
              <a:gd name="connsiteY521" fmla="*/ 196233 h 1432704"/>
              <a:gd name="connsiteX522" fmla="*/ 2262934 w 6789178"/>
              <a:gd name="connsiteY522" fmla="*/ 219093 h 1432704"/>
              <a:gd name="connsiteX523" fmla="*/ 2240074 w 6789178"/>
              <a:gd name="connsiteY523" fmla="*/ 196233 h 1432704"/>
              <a:gd name="connsiteX524" fmla="*/ 2262934 w 6789178"/>
              <a:gd name="connsiteY524" fmla="*/ 173373 h 1432704"/>
              <a:gd name="connsiteX525" fmla="*/ 4116095 w 6789178"/>
              <a:gd name="connsiteY525" fmla="*/ 38700 h 1432704"/>
              <a:gd name="connsiteX526" fmla="*/ 4141536 w 6789178"/>
              <a:gd name="connsiteY526" fmla="*/ 41933 h 1432704"/>
              <a:gd name="connsiteX527" fmla="*/ 4132393 w 6789178"/>
              <a:gd name="connsiteY527" fmla="*/ 45720 h 1432704"/>
              <a:gd name="connsiteX528" fmla="*/ 4116229 w 6789178"/>
              <a:gd name="connsiteY528" fmla="*/ 39025 h 1432704"/>
              <a:gd name="connsiteX529" fmla="*/ 2845735 w 6789178"/>
              <a:gd name="connsiteY529" fmla="*/ 25019 h 1432704"/>
              <a:gd name="connsiteX530" fmla="*/ 2839934 w 6789178"/>
              <a:gd name="connsiteY530" fmla="*/ 39025 h 1432704"/>
              <a:gd name="connsiteX531" fmla="*/ 2823769 w 6789178"/>
              <a:gd name="connsiteY531" fmla="*/ 45720 h 1432704"/>
              <a:gd name="connsiteX532" fmla="*/ 2807605 w 6789178"/>
              <a:gd name="connsiteY532" fmla="*/ 39025 h 1432704"/>
              <a:gd name="connsiteX533" fmla="*/ 2804000 w 6789178"/>
              <a:gd name="connsiteY533" fmla="*/ 30322 h 1432704"/>
              <a:gd name="connsiteX534" fmla="*/ 3926023 w 6789178"/>
              <a:gd name="connsiteY534" fmla="*/ 14548 h 1432704"/>
              <a:gd name="connsiteX535" fmla="*/ 3967014 w 6789178"/>
              <a:gd name="connsiteY535" fmla="*/ 19757 h 1432704"/>
              <a:gd name="connsiteX536" fmla="*/ 3968299 w 6789178"/>
              <a:gd name="connsiteY536" fmla="*/ 22860 h 1432704"/>
              <a:gd name="connsiteX537" fmla="*/ 3945439 w 6789178"/>
              <a:gd name="connsiteY537" fmla="*/ 45720 h 1432704"/>
              <a:gd name="connsiteX538" fmla="*/ 3922579 w 6789178"/>
              <a:gd name="connsiteY538" fmla="*/ 22860 h 1432704"/>
              <a:gd name="connsiteX539" fmla="*/ 3026904 w 6789178"/>
              <a:gd name="connsiteY539" fmla="*/ 6756 h 1432704"/>
              <a:gd name="connsiteX540" fmla="*/ 3033574 w 6789178"/>
              <a:gd name="connsiteY540" fmla="*/ 22860 h 1432704"/>
              <a:gd name="connsiteX541" fmla="*/ 3010714 w 6789178"/>
              <a:gd name="connsiteY541" fmla="*/ 45720 h 1432704"/>
              <a:gd name="connsiteX542" fmla="*/ 2987854 w 6789178"/>
              <a:gd name="connsiteY542" fmla="*/ 22860 h 1432704"/>
              <a:gd name="connsiteX543" fmla="*/ 2993472 w 6789178"/>
              <a:gd name="connsiteY543" fmla="*/ 9298 h 1432704"/>
              <a:gd name="connsiteX544" fmla="*/ 3755379 w 6789178"/>
              <a:gd name="connsiteY544" fmla="*/ 1291 h 1432704"/>
              <a:gd name="connsiteX545" fmla="*/ 3763010 w 6789178"/>
              <a:gd name="connsiteY545" fmla="*/ 1871 h 1432704"/>
              <a:gd name="connsiteX546" fmla="*/ 3774659 w 6789178"/>
              <a:gd name="connsiteY546" fmla="*/ 6696 h 1432704"/>
              <a:gd name="connsiteX547" fmla="*/ 3781354 w 6789178"/>
              <a:gd name="connsiteY547" fmla="*/ 22860 h 1432704"/>
              <a:gd name="connsiteX548" fmla="*/ 3758494 w 6789178"/>
              <a:gd name="connsiteY548" fmla="*/ 45720 h 1432704"/>
              <a:gd name="connsiteX549" fmla="*/ 3735634 w 6789178"/>
              <a:gd name="connsiteY549" fmla="*/ 22860 h 1432704"/>
              <a:gd name="connsiteX550" fmla="*/ 3742330 w 6789178"/>
              <a:gd name="connsiteY550" fmla="*/ 6696 h 1432704"/>
              <a:gd name="connsiteX551" fmla="*/ 3571549 w 6789178"/>
              <a:gd name="connsiteY551" fmla="*/ 0 h 1432704"/>
              <a:gd name="connsiteX552" fmla="*/ 3594409 w 6789178"/>
              <a:gd name="connsiteY552" fmla="*/ 22860 h 1432704"/>
              <a:gd name="connsiteX553" fmla="*/ 3571549 w 6789178"/>
              <a:gd name="connsiteY553" fmla="*/ 45720 h 1432704"/>
              <a:gd name="connsiteX554" fmla="*/ 3548689 w 6789178"/>
              <a:gd name="connsiteY554" fmla="*/ 22860 h 1432704"/>
              <a:gd name="connsiteX555" fmla="*/ 3571549 w 6789178"/>
              <a:gd name="connsiteY555" fmla="*/ 0 h 1432704"/>
              <a:gd name="connsiteX556" fmla="*/ 3384604 w 6789178"/>
              <a:gd name="connsiteY556" fmla="*/ 0 h 1432704"/>
              <a:gd name="connsiteX557" fmla="*/ 3407464 w 6789178"/>
              <a:gd name="connsiteY557" fmla="*/ 22860 h 1432704"/>
              <a:gd name="connsiteX558" fmla="*/ 3384604 w 6789178"/>
              <a:gd name="connsiteY558" fmla="*/ 45720 h 1432704"/>
              <a:gd name="connsiteX559" fmla="*/ 3361744 w 6789178"/>
              <a:gd name="connsiteY559" fmla="*/ 22860 h 1432704"/>
              <a:gd name="connsiteX560" fmla="*/ 3384604 w 6789178"/>
              <a:gd name="connsiteY560" fmla="*/ 0 h 1432704"/>
              <a:gd name="connsiteX561" fmla="*/ 3197659 w 6789178"/>
              <a:gd name="connsiteY561" fmla="*/ 0 h 1432704"/>
              <a:gd name="connsiteX562" fmla="*/ 3220519 w 6789178"/>
              <a:gd name="connsiteY562" fmla="*/ 22860 h 1432704"/>
              <a:gd name="connsiteX563" fmla="*/ 3197659 w 6789178"/>
              <a:gd name="connsiteY563" fmla="*/ 45720 h 1432704"/>
              <a:gd name="connsiteX564" fmla="*/ 3174799 w 6789178"/>
              <a:gd name="connsiteY564" fmla="*/ 22860 h 1432704"/>
              <a:gd name="connsiteX565" fmla="*/ 3197659 w 6789178"/>
              <a:gd name="connsiteY565" fmla="*/ 0 h 1432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</a:cxnLst>
            <a:rect l="l" t="t" r="r" b="b"/>
            <a:pathLst>
              <a:path w="6789178" h="1432704">
                <a:moveTo>
                  <a:pt x="27397" y="1390216"/>
                </a:moveTo>
                <a:lnTo>
                  <a:pt x="35759" y="1393680"/>
                </a:lnTo>
                <a:cubicBezTo>
                  <a:pt x="39896" y="1397817"/>
                  <a:pt x="42454" y="1403532"/>
                  <a:pt x="42454" y="1409844"/>
                </a:cubicBezTo>
                <a:cubicBezTo>
                  <a:pt x="42454" y="1422469"/>
                  <a:pt x="32219" y="1432704"/>
                  <a:pt x="19594" y="1432704"/>
                </a:cubicBezTo>
                <a:cubicBezTo>
                  <a:pt x="13282" y="1432704"/>
                  <a:pt x="7567" y="1430145"/>
                  <a:pt x="3430" y="1426009"/>
                </a:cubicBezTo>
                <a:lnTo>
                  <a:pt x="0" y="1417729"/>
                </a:lnTo>
                <a:lnTo>
                  <a:pt x="14582" y="1402434"/>
                </a:lnTo>
                <a:close/>
                <a:moveTo>
                  <a:pt x="6766318" y="1386984"/>
                </a:moveTo>
                <a:cubicBezTo>
                  <a:pt x="6778943" y="1386984"/>
                  <a:pt x="6789178" y="1397219"/>
                  <a:pt x="6789178" y="1409844"/>
                </a:cubicBezTo>
                <a:cubicBezTo>
                  <a:pt x="6789178" y="1422469"/>
                  <a:pt x="6778943" y="1432704"/>
                  <a:pt x="6766318" y="1432704"/>
                </a:cubicBezTo>
                <a:cubicBezTo>
                  <a:pt x="6753693" y="1432704"/>
                  <a:pt x="6743458" y="1422469"/>
                  <a:pt x="6743458" y="1409844"/>
                </a:cubicBezTo>
                <a:cubicBezTo>
                  <a:pt x="6743458" y="1397219"/>
                  <a:pt x="6753693" y="1386984"/>
                  <a:pt x="6766318" y="1386984"/>
                </a:cubicBezTo>
                <a:close/>
                <a:moveTo>
                  <a:pt x="6579373" y="1386984"/>
                </a:moveTo>
                <a:cubicBezTo>
                  <a:pt x="6591998" y="1386984"/>
                  <a:pt x="6602233" y="1397219"/>
                  <a:pt x="6602233" y="1409844"/>
                </a:cubicBezTo>
                <a:cubicBezTo>
                  <a:pt x="6602233" y="1422469"/>
                  <a:pt x="6591998" y="1432704"/>
                  <a:pt x="6579373" y="1432704"/>
                </a:cubicBezTo>
                <a:cubicBezTo>
                  <a:pt x="6566748" y="1432704"/>
                  <a:pt x="6556513" y="1422469"/>
                  <a:pt x="6556513" y="1409844"/>
                </a:cubicBezTo>
                <a:cubicBezTo>
                  <a:pt x="6556513" y="1397219"/>
                  <a:pt x="6566748" y="1386984"/>
                  <a:pt x="6579373" y="1386984"/>
                </a:cubicBezTo>
                <a:close/>
                <a:moveTo>
                  <a:pt x="6392428" y="1386984"/>
                </a:moveTo>
                <a:cubicBezTo>
                  <a:pt x="6405053" y="1386984"/>
                  <a:pt x="6415288" y="1397219"/>
                  <a:pt x="6415288" y="1409844"/>
                </a:cubicBezTo>
                <a:cubicBezTo>
                  <a:pt x="6415288" y="1422469"/>
                  <a:pt x="6405053" y="1432704"/>
                  <a:pt x="6392428" y="1432704"/>
                </a:cubicBezTo>
                <a:cubicBezTo>
                  <a:pt x="6379803" y="1432704"/>
                  <a:pt x="6369568" y="1422469"/>
                  <a:pt x="6369568" y="1409844"/>
                </a:cubicBezTo>
                <a:cubicBezTo>
                  <a:pt x="6369568" y="1397219"/>
                  <a:pt x="6379803" y="1386984"/>
                  <a:pt x="6392428" y="1386984"/>
                </a:cubicBezTo>
                <a:close/>
                <a:moveTo>
                  <a:pt x="6205483" y="1386984"/>
                </a:moveTo>
                <a:cubicBezTo>
                  <a:pt x="6218108" y="1386984"/>
                  <a:pt x="6228343" y="1397219"/>
                  <a:pt x="6228343" y="1409844"/>
                </a:cubicBezTo>
                <a:cubicBezTo>
                  <a:pt x="6228343" y="1422469"/>
                  <a:pt x="6218108" y="1432704"/>
                  <a:pt x="6205483" y="1432704"/>
                </a:cubicBezTo>
                <a:cubicBezTo>
                  <a:pt x="6192858" y="1432704"/>
                  <a:pt x="6182623" y="1422469"/>
                  <a:pt x="6182623" y="1409844"/>
                </a:cubicBezTo>
                <a:cubicBezTo>
                  <a:pt x="6182623" y="1397219"/>
                  <a:pt x="6192858" y="1386984"/>
                  <a:pt x="6205483" y="1386984"/>
                </a:cubicBezTo>
                <a:close/>
                <a:moveTo>
                  <a:pt x="580429" y="1386984"/>
                </a:moveTo>
                <a:cubicBezTo>
                  <a:pt x="593054" y="1386984"/>
                  <a:pt x="603289" y="1397219"/>
                  <a:pt x="603289" y="1409844"/>
                </a:cubicBezTo>
                <a:cubicBezTo>
                  <a:pt x="603289" y="1422469"/>
                  <a:pt x="593054" y="1432704"/>
                  <a:pt x="580429" y="1432704"/>
                </a:cubicBezTo>
                <a:cubicBezTo>
                  <a:pt x="567804" y="1432704"/>
                  <a:pt x="557569" y="1422469"/>
                  <a:pt x="557569" y="1409844"/>
                </a:cubicBezTo>
                <a:cubicBezTo>
                  <a:pt x="557569" y="1397219"/>
                  <a:pt x="567804" y="1386984"/>
                  <a:pt x="580429" y="1386984"/>
                </a:cubicBezTo>
                <a:close/>
                <a:moveTo>
                  <a:pt x="393484" y="1386984"/>
                </a:moveTo>
                <a:cubicBezTo>
                  <a:pt x="406109" y="1386984"/>
                  <a:pt x="416344" y="1397219"/>
                  <a:pt x="416344" y="1409844"/>
                </a:cubicBezTo>
                <a:cubicBezTo>
                  <a:pt x="416344" y="1422469"/>
                  <a:pt x="406109" y="1432704"/>
                  <a:pt x="393484" y="1432704"/>
                </a:cubicBezTo>
                <a:cubicBezTo>
                  <a:pt x="380859" y="1432704"/>
                  <a:pt x="370624" y="1422469"/>
                  <a:pt x="370624" y="1409844"/>
                </a:cubicBezTo>
                <a:cubicBezTo>
                  <a:pt x="370624" y="1397219"/>
                  <a:pt x="380859" y="1386984"/>
                  <a:pt x="393484" y="1386984"/>
                </a:cubicBezTo>
                <a:close/>
                <a:moveTo>
                  <a:pt x="206539" y="1386984"/>
                </a:moveTo>
                <a:cubicBezTo>
                  <a:pt x="219164" y="1386984"/>
                  <a:pt x="229399" y="1397219"/>
                  <a:pt x="229399" y="1409844"/>
                </a:cubicBezTo>
                <a:cubicBezTo>
                  <a:pt x="229399" y="1422469"/>
                  <a:pt x="219164" y="1432704"/>
                  <a:pt x="206539" y="1432704"/>
                </a:cubicBezTo>
                <a:cubicBezTo>
                  <a:pt x="193914" y="1432704"/>
                  <a:pt x="183679" y="1422469"/>
                  <a:pt x="183679" y="1409844"/>
                </a:cubicBezTo>
                <a:cubicBezTo>
                  <a:pt x="183679" y="1397219"/>
                  <a:pt x="193914" y="1386984"/>
                  <a:pt x="206539" y="1386984"/>
                </a:cubicBezTo>
                <a:close/>
                <a:moveTo>
                  <a:pt x="212734" y="1216177"/>
                </a:moveTo>
                <a:lnTo>
                  <a:pt x="222704" y="1220307"/>
                </a:lnTo>
                <a:cubicBezTo>
                  <a:pt x="226841" y="1224444"/>
                  <a:pt x="229399" y="1230159"/>
                  <a:pt x="229399" y="1236471"/>
                </a:cubicBezTo>
                <a:cubicBezTo>
                  <a:pt x="229399" y="1249096"/>
                  <a:pt x="219164" y="1259331"/>
                  <a:pt x="206539" y="1259331"/>
                </a:cubicBezTo>
                <a:cubicBezTo>
                  <a:pt x="200227" y="1259331"/>
                  <a:pt x="194512" y="1256773"/>
                  <a:pt x="190375" y="1252636"/>
                </a:cubicBezTo>
                <a:lnTo>
                  <a:pt x="185165" y="1240059"/>
                </a:lnTo>
                <a:close/>
                <a:moveTo>
                  <a:pt x="950606" y="1215149"/>
                </a:moveTo>
                <a:lnTo>
                  <a:pt x="935662" y="1226324"/>
                </a:lnTo>
                <a:lnTo>
                  <a:pt x="938155" y="1220307"/>
                </a:lnTo>
                <a:close/>
                <a:moveTo>
                  <a:pt x="6579373" y="1213611"/>
                </a:moveTo>
                <a:cubicBezTo>
                  <a:pt x="6591998" y="1213611"/>
                  <a:pt x="6602233" y="1223846"/>
                  <a:pt x="6602233" y="1236471"/>
                </a:cubicBezTo>
                <a:cubicBezTo>
                  <a:pt x="6602233" y="1249096"/>
                  <a:pt x="6591998" y="1259331"/>
                  <a:pt x="6579373" y="1259331"/>
                </a:cubicBezTo>
                <a:cubicBezTo>
                  <a:pt x="6566748" y="1259331"/>
                  <a:pt x="6556513" y="1249096"/>
                  <a:pt x="6556513" y="1236471"/>
                </a:cubicBezTo>
                <a:cubicBezTo>
                  <a:pt x="6556513" y="1223846"/>
                  <a:pt x="6566748" y="1213611"/>
                  <a:pt x="6579373" y="1213611"/>
                </a:cubicBezTo>
                <a:close/>
                <a:moveTo>
                  <a:pt x="6392428" y="1213611"/>
                </a:moveTo>
                <a:cubicBezTo>
                  <a:pt x="6405053" y="1213611"/>
                  <a:pt x="6415288" y="1223846"/>
                  <a:pt x="6415288" y="1236471"/>
                </a:cubicBezTo>
                <a:cubicBezTo>
                  <a:pt x="6415288" y="1249096"/>
                  <a:pt x="6405053" y="1259331"/>
                  <a:pt x="6392428" y="1259331"/>
                </a:cubicBezTo>
                <a:cubicBezTo>
                  <a:pt x="6379803" y="1259331"/>
                  <a:pt x="6369568" y="1249096"/>
                  <a:pt x="6369568" y="1236471"/>
                </a:cubicBezTo>
                <a:cubicBezTo>
                  <a:pt x="6369568" y="1223846"/>
                  <a:pt x="6379803" y="1213611"/>
                  <a:pt x="6392428" y="1213611"/>
                </a:cubicBezTo>
                <a:close/>
                <a:moveTo>
                  <a:pt x="6205483" y="1213611"/>
                </a:moveTo>
                <a:cubicBezTo>
                  <a:pt x="6218108" y="1213611"/>
                  <a:pt x="6228343" y="1223846"/>
                  <a:pt x="6228343" y="1236471"/>
                </a:cubicBezTo>
                <a:cubicBezTo>
                  <a:pt x="6228343" y="1249096"/>
                  <a:pt x="6218108" y="1259331"/>
                  <a:pt x="6205483" y="1259331"/>
                </a:cubicBezTo>
                <a:cubicBezTo>
                  <a:pt x="6192858" y="1259331"/>
                  <a:pt x="6182623" y="1249096"/>
                  <a:pt x="6182623" y="1236471"/>
                </a:cubicBezTo>
                <a:cubicBezTo>
                  <a:pt x="6182623" y="1223846"/>
                  <a:pt x="6192858" y="1213611"/>
                  <a:pt x="6205483" y="1213611"/>
                </a:cubicBezTo>
                <a:close/>
                <a:moveTo>
                  <a:pt x="6018538" y="1213611"/>
                </a:moveTo>
                <a:cubicBezTo>
                  <a:pt x="6031163" y="1213611"/>
                  <a:pt x="6041398" y="1223846"/>
                  <a:pt x="6041398" y="1236471"/>
                </a:cubicBezTo>
                <a:cubicBezTo>
                  <a:pt x="6041398" y="1249096"/>
                  <a:pt x="6031163" y="1259331"/>
                  <a:pt x="6018538" y="1259331"/>
                </a:cubicBezTo>
                <a:cubicBezTo>
                  <a:pt x="6005913" y="1259331"/>
                  <a:pt x="5995678" y="1249096"/>
                  <a:pt x="5995678" y="1236471"/>
                </a:cubicBezTo>
                <a:cubicBezTo>
                  <a:pt x="5995678" y="1223846"/>
                  <a:pt x="6005913" y="1213611"/>
                  <a:pt x="6018538" y="1213611"/>
                </a:cubicBezTo>
                <a:close/>
                <a:moveTo>
                  <a:pt x="767374" y="1213611"/>
                </a:moveTo>
                <a:cubicBezTo>
                  <a:pt x="779999" y="1213611"/>
                  <a:pt x="790234" y="1223846"/>
                  <a:pt x="790234" y="1236471"/>
                </a:cubicBezTo>
                <a:cubicBezTo>
                  <a:pt x="790234" y="1249096"/>
                  <a:pt x="779999" y="1259331"/>
                  <a:pt x="767374" y="1259331"/>
                </a:cubicBezTo>
                <a:cubicBezTo>
                  <a:pt x="754749" y="1259331"/>
                  <a:pt x="744514" y="1249096"/>
                  <a:pt x="744514" y="1236471"/>
                </a:cubicBezTo>
                <a:cubicBezTo>
                  <a:pt x="744514" y="1223846"/>
                  <a:pt x="754749" y="1213611"/>
                  <a:pt x="767374" y="1213611"/>
                </a:cubicBezTo>
                <a:close/>
                <a:moveTo>
                  <a:pt x="580429" y="1213611"/>
                </a:moveTo>
                <a:cubicBezTo>
                  <a:pt x="593054" y="1213611"/>
                  <a:pt x="603289" y="1223846"/>
                  <a:pt x="603289" y="1236471"/>
                </a:cubicBezTo>
                <a:cubicBezTo>
                  <a:pt x="603289" y="1249096"/>
                  <a:pt x="593054" y="1259331"/>
                  <a:pt x="580429" y="1259331"/>
                </a:cubicBezTo>
                <a:cubicBezTo>
                  <a:pt x="567804" y="1259331"/>
                  <a:pt x="557569" y="1249096"/>
                  <a:pt x="557569" y="1236471"/>
                </a:cubicBezTo>
                <a:cubicBezTo>
                  <a:pt x="557569" y="1223846"/>
                  <a:pt x="567804" y="1213611"/>
                  <a:pt x="580429" y="1213611"/>
                </a:cubicBezTo>
                <a:close/>
                <a:moveTo>
                  <a:pt x="393484" y="1213611"/>
                </a:moveTo>
                <a:cubicBezTo>
                  <a:pt x="406109" y="1213611"/>
                  <a:pt x="416344" y="1223846"/>
                  <a:pt x="416344" y="1236471"/>
                </a:cubicBezTo>
                <a:cubicBezTo>
                  <a:pt x="416344" y="1249096"/>
                  <a:pt x="406109" y="1259331"/>
                  <a:pt x="393484" y="1259331"/>
                </a:cubicBezTo>
                <a:cubicBezTo>
                  <a:pt x="380859" y="1259331"/>
                  <a:pt x="370624" y="1249096"/>
                  <a:pt x="370624" y="1236471"/>
                </a:cubicBezTo>
                <a:cubicBezTo>
                  <a:pt x="370624" y="1223846"/>
                  <a:pt x="380859" y="1213611"/>
                  <a:pt x="393484" y="1213611"/>
                </a:cubicBezTo>
                <a:close/>
                <a:moveTo>
                  <a:pt x="410549" y="1049107"/>
                </a:moveTo>
                <a:lnTo>
                  <a:pt x="416344" y="1063098"/>
                </a:lnTo>
                <a:cubicBezTo>
                  <a:pt x="416344" y="1075723"/>
                  <a:pt x="406109" y="1085958"/>
                  <a:pt x="393484" y="1085958"/>
                </a:cubicBezTo>
                <a:cubicBezTo>
                  <a:pt x="387172" y="1085958"/>
                  <a:pt x="381457" y="1083399"/>
                  <a:pt x="377320" y="1079263"/>
                </a:cubicBezTo>
                <a:lnTo>
                  <a:pt x="376056" y="1076212"/>
                </a:lnTo>
                <a:close/>
                <a:moveTo>
                  <a:pt x="6392428" y="1040238"/>
                </a:moveTo>
                <a:cubicBezTo>
                  <a:pt x="6405053" y="1040238"/>
                  <a:pt x="6415288" y="1050473"/>
                  <a:pt x="6415288" y="1063098"/>
                </a:cubicBezTo>
                <a:cubicBezTo>
                  <a:pt x="6415288" y="1075723"/>
                  <a:pt x="6405053" y="1085958"/>
                  <a:pt x="6392428" y="1085958"/>
                </a:cubicBezTo>
                <a:cubicBezTo>
                  <a:pt x="6379803" y="1085958"/>
                  <a:pt x="6369568" y="1075723"/>
                  <a:pt x="6369568" y="1063098"/>
                </a:cubicBezTo>
                <a:cubicBezTo>
                  <a:pt x="6369568" y="1050473"/>
                  <a:pt x="6379803" y="1040238"/>
                  <a:pt x="6392428" y="1040238"/>
                </a:cubicBezTo>
                <a:close/>
                <a:moveTo>
                  <a:pt x="6205483" y="1040238"/>
                </a:moveTo>
                <a:cubicBezTo>
                  <a:pt x="6218108" y="1040238"/>
                  <a:pt x="6228343" y="1050473"/>
                  <a:pt x="6228343" y="1063098"/>
                </a:cubicBezTo>
                <a:cubicBezTo>
                  <a:pt x="6228343" y="1075723"/>
                  <a:pt x="6218108" y="1085958"/>
                  <a:pt x="6205483" y="1085958"/>
                </a:cubicBezTo>
                <a:cubicBezTo>
                  <a:pt x="6192858" y="1085958"/>
                  <a:pt x="6182623" y="1075723"/>
                  <a:pt x="6182623" y="1063098"/>
                </a:cubicBezTo>
                <a:cubicBezTo>
                  <a:pt x="6182623" y="1050473"/>
                  <a:pt x="6192858" y="1040238"/>
                  <a:pt x="6205483" y="1040238"/>
                </a:cubicBezTo>
                <a:close/>
                <a:moveTo>
                  <a:pt x="6018538" y="1040238"/>
                </a:moveTo>
                <a:cubicBezTo>
                  <a:pt x="6031163" y="1040238"/>
                  <a:pt x="6041398" y="1050473"/>
                  <a:pt x="6041398" y="1063098"/>
                </a:cubicBezTo>
                <a:cubicBezTo>
                  <a:pt x="6041398" y="1075723"/>
                  <a:pt x="6031163" y="1085958"/>
                  <a:pt x="6018538" y="1085958"/>
                </a:cubicBezTo>
                <a:cubicBezTo>
                  <a:pt x="6005913" y="1085958"/>
                  <a:pt x="5995678" y="1075723"/>
                  <a:pt x="5995678" y="1063098"/>
                </a:cubicBezTo>
                <a:cubicBezTo>
                  <a:pt x="5995678" y="1050473"/>
                  <a:pt x="6005913" y="1040238"/>
                  <a:pt x="6018538" y="1040238"/>
                </a:cubicBezTo>
                <a:close/>
                <a:moveTo>
                  <a:pt x="5831593" y="1040238"/>
                </a:moveTo>
                <a:cubicBezTo>
                  <a:pt x="5844218" y="1040238"/>
                  <a:pt x="5854453" y="1050473"/>
                  <a:pt x="5854453" y="1063098"/>
                </a:cubicBezTo>
                <a:cubicBezTo>
                  <a:pt x="5854453" y="1075723"/>
                  <a:pt x="5844218" y="1085958"/>
                  <a:pt x="5831593" y="1085958"/>
                </a:cubicBezTo>
                <a:cubicBezTo>
                  <a:pt x="5818968" y="1085958"/>
                  <a:pt x="5808733" y="1075723"/>
                  <a:pt x="5808733" y="1063098"/>
                </a:cubicBezTo>
                <a:cubicBezTo>
                  <a:pt x="5808733" y="1050473"/>
                  <a:pt x="5818968" y="1040238"/>
                  <a:pt x="5831593" y="1040238"/>
                </a:cubicBezTo>
                <a:close/>
                <a:moveTo>
                  <a:pt x="5644648" y="1040238"/>
                </a:moveTo>
                <a:cubicBezTo>
                  <a:pt x="5657273" y="1040238"/>
                  <a:pt x="5667508" y="1050473"/>
                  <a:pt x="5667508" y="1063098"/>
                </a:cubicBezTo>
                <a:lnTo>
                  <a:pt x="5666177" y="1066311"/>
                </a:lnTo>
                <a:lnTo>
                  <a:pt x="5632481" y="1045278"/>
                </a:lnTo>
                <a:close/>
                <a:moveTo>
                  <a:pt x="1141264" y="1040238"/>
                </a:moveTo>
                <a:cubicBezTo>
                  <a:pt x="1153889" y="1040238"/>
                  <a:pt x="1164124" y="1050473"/>
                  <a:pt x="1164124" y="1063098"/>
                </a:cubicBezTo>
                <a:cubicBezTo>
                  <a:pt x="1164124" y="1075723"/>
                  <a:pt x="1153889" y="1085958"/>
                  <a:pt x="1141264" y="1085958"/>
                </a:cubicBezTo>
                <a:cubicBezTo>
                  <a:pt x="1128639" y="1085958"/>
                  <a:pt x="1118404" y="1075723"/>
                  <a:pt x="1118404" y="1063098"/>
                </a:cubicBezTo>
                <a:cubicBezTo>
                  <a:pt x="1118404" y="1050473"/>
                  <a:pt x="1128639" y="1040238"/>
                  <a:pt x="1141264" y="1040238"/>
                </a:cubicBezTo>
                <a:close/>
                <a:moveTo>
                  <a:pt x="954319" y="1040238"/>
                </a:moveTo>
                <a:cubicBezTo>
                  <a:pt x="966944" y="1040238"/>
                  <a:pt x="977179" y="1050473"/>
                  <a:pt x="977179" y="1063098"/>
                </a:cubicBezTo>
                <a:cubicBezTo>
                  <a:pt x="977179" y="1075723"/>
                  <a:pt x="966944" y="1085958"/>
                  <a:pt x="954319" y="1085958"/>
                </a:cubicBezTo>
                <a:cubicBezTo>
                  <a:pt x="941694" y="1085958"/>
                  <a:pt x="931459" y="1075723"/>
                  <a:pt x="931459" y="1063098"/>
                </a:cubicBezTo>
                <a:cubicBezTo>
                  <a:pt x="931459" y="1050473"/>
                  <a:pt x="941694" y="1040238"/>
                  <a:pt x="954319" y="1040238"/>
                </a:cubicBezTo>
                <a:close/>
                <a:moveTo>
                  <a:pt x="767374" y="1040238"/>
                </a:moveTo>
                <a:cubicBezTo>
                  <a:pt x="779999" y="1040238"/>
                  <a:pt x="790234" y="1050473"/>
                  <a:pt x="790234" y="1063098"/>
                </a:cubicBezTo>
                <a:cubicBezTo>
                  <a:pt x="790234" y="1075723"/>
                  <a:pt x="779999" y="1085958"/>
                  <a:pt x="767374" y="1085958"/>
                </a:cubicBezTo>
                <a:cubicBezTo>
                  <a:pt x="754749" y="1085958"/>
                  <a:pt x="744514" y="1075723"/>
                  <a:pt x="744514" y="1063098"/>
                </a:cubicBezTo>
                <a:cubicBezTo>
                  <a:pt x="744514" y="1050473"/>
                  <a:pt x="754749" y="1040238"/>
                  <a:pt x="767374" y="1040238"/>
                </a:cubicBezTo>
                <a:close/>
                <a:moveTo>
                  <a:pt x="580429" y="1040238"/>
                </a:moveTo>
                <a:cubicBezTo>
                  <a:pt x="593054" y="1040238"/>
                  <a:pt x="603289" y="1050473"/>
                  <a:pt x="603289" y="1063098"/>
                </a:cubicBezTo>
                <a:cubicBezTo>
                  <a:pt x="603289" y="1075723"/>
                  <a:pt x="593054" y="1085958"/>
                  <a:pt x="580429" y="1085958"/>
                </a:cubicBezTo>
                <a:cubicBezTo>
                  <a:pt x="567804" y="1085958"/>
                  <a:pt x="557569" y="1075723"/>
                  <a:pt x="557569" y="1063098"/>
                </a:cubicBezTo>
                <a:cubicBezTo>
                  <a:pt x="557569" y="1050473"/>
                  <a:pt x="567804" y="1040238"/>
                  <a:pt x="580429" y="1040238"/>
                </a:cubicBezTo>
                <a:close/>
                <a:moveTo>
                  <a:pt x="6202585" y="868066"/>
                </a:moveTo>
                <a:lnTo>
                  <a:pt x="6226380" y="884987"/>
                </a:lnTo>
                <a:lnTo>
                  <a:pt x="6228343" y="889725"/>
                </a:lnTo>
                <a:cubicBezTo>
                  <a:pt x="6228343" y="902350"/>
                  <a:pt x="6218108" y="912585"/>
                  <a:pt x="6205483" y="912585"/>
                </a:cubicBezTo>
                <a:cubicBezTo>
                  <a:pt x="6192858" y="912585"/>
                  <a:pt x="6182623" y="902350"/>
                  <a:pt x="6182623" y="889725"/>
                </a:cubicBezTo>
                <a:cubicBezTo>
                  <a:pt x="6182623" y="883413"/>
                  <a:pt x="6185182" y="877698"/>
                  <a:pt x="6189319" y="873561"/>
                </a:cubicBezTo>
                <a:close/>
                <a:moveTo>
                  <a:pt x="6018538" y="866865"/>
                </a:moveTo>
                <a:cubicBezTo>
                  <a:pt x="6031163" y="866865"/>
                  <a:pt x="6041398" y="877100"/>
                  <a:pt x="6041398" y="889725"/>
                </a:cubicBezTo>
                <a:cubicBezTo>
                  <a:pt x="6041398" y="902350"/>
                  <a:pt x="6031163" y="912585"/>
                  <a:pt x="6018538" y="912585"/>
                </a:cubicBezTo>
                <a:cubicBezTo>
                  <a:pt x="6005913" y="912585"/>
                  <a:pt x="5995678" y="902350"/>
                  <a:pt x="5995678" y="889725"/>
                </a:cubicBezTo>
                <a:cubicBezTo>
                  <a:pt x="5995678" y="877100"/>
                  <a:pt x="6005913" y="866865"/>
                  <a:pt x="6018538" y="866865"/>
                </a:cubicBezTo>
                <a:close/>
                <a:moveTo>
                  <a:pt x="5831593" y="866865"/>
                </a:moveTo>
                <a:cubicBezTo>
                  <a:pt x="5844218" y="866865"/>
                  <a:pt x="5854453" y="877100"/>
                  <a:pt x="5854453" y="889725"/>
                </a:cubicBezTo>
                <a:cubicBezTo>
                  <a:pt x="5854453" y="902350"/>
                  <a:pt x="5844218" y="912585"/>
                  <a:pt x="5831593" y="912585"/>
                </a:cubicBezTo>
                <a:cubicBezTo>
                  <a:pt x="5818968" y="912585"/>
                  <a:pt x="5808733" y="902350"/>
                  <a:pt x="5808733" y="889725"/>
                </a:cubicBezTo>
                <a:cubicBezTo>
                  <a:pt x="5808733" y="877100"/>
                  <a:pt x="5818968" y="866865"/>
                  <a:pt x="5831593" y="866865"/>
                </a:cubicBezTo>
                <a:close/>
                <a:moveTo>
                  <a:pt x="5644648" y="866865"/>
                </a:moveTo>
                <a:cubicBezTo>
                  <a:pt x="5657273" y="866865"/>
                  <a:pt x="5667508" y="877100"/>
                  <a:pt x="5667508" y="889725"/>
                </a:cubicBezTo>
                <a:cubicBezTo>
                  <a:pt x="5667508" y="902350"/>
                  <a:pt x="5657273" y="912585"/>
                  <a:pt x="5644648" y="912585"/>
                </a:cubicBezTo>
                <a:cubicBezTo>
                  <a:pt x="5632023" y="912585"/>
                  <a:pt x="5621788" y="902350"/>
                  <a:pt x="5621788" y="889725"/>
                </a:cubicBezTo>
                <a:cubicBezTo>
                  <a:pt x="5621788" y="877100"/>
                  <a:pt x="5632023" y="866865"/>
                  <a:pt x="5644648" y="866865"/>
                </a:cubicBezTo>
                <a:close/>
                <a:moveTo>
                  <a:pt x="5457703" y="866865"/>
                </a:moveTo>
                <a:cubicBezTo>
                  <a:pt x="5470328" y="866865"/>
                  <a:pt x="5480563" y="877100"/>
                  <a:pt x="5480563" y="889725"/>
                </a:cubicBezTo>
                <a:cubicBezTo>
                  <a:pt x="5480563" y="902350"/>
                  <a:pt x="5470328" y="912585"/>
                  <a:pt x="5457703" y="912585"/>
                </a:cubicBezTo>
                <a:cubicBezTo>
                  <a:pt x="5445078" y="912585"/>
                  <a:pt x="5434843" y="902350"/>
                  <a:pt x="5434843" y="889725"/>
                </a:cubicBezTo>
                <a:cubicBezTo>
                  <a:pt x="5434843" y="877100"/>
                  <a:pt x="5445078" y="866865"/>
                  <a:pt x="5457703" y="866865"/>
                </a:cubicBezTo>
                <a:close/>
                <a:moveTo>
                  <a:pt x="1515154" y="866865"/>
                </a:moveTo>
                <a:cubicBezTo>
                  <a:pt x="1521467" y="866865"/>
                  <a:pt x="1527182" y="869424"/>
                  <a:pt x="1531319" y="873561"/>
                </a:cubicBezTo>
                <a:lnTo>
                  <a:pt x="1534707" y="881740"/>
                </a:lnTo>
                <a:lnTo>
                  <a:pt x="1510999" y="892109"/>
                </a:lnTo>
                <a:lnTo>
                  <a:pt x="1496459" y="899780"/>
                </a:lnTo>
                <a:lnTo>
                  <a:pt x="1492294" y="889725"/>
                </a:lnTo>
                <a:cubicBezTo>
                  <a:pt x="1492294" y="877100"/>
                  <a:pt x="1502529" y="866865"/>
                  <a:pt x="1515154" y="866865"/>
                </a:cubicBezTo>
                <a:close/>
                <a:moveTo>
                  <a:pt x="1328209" y="866865"/>
                </a:moveTo>
                <a:cubicBezTo>
                  <a:pt x="1340834" y="866865"/>
                  <a:pt x="1351069" y="877100"/>
                  <a:pt x="1351069" y="889725"/>
                </a:cubicBezTo>
                <a:cubicBezTo>
                  <a:pt x="1351069" y="902350"/>
                  <a:pt x="1340834" y="912585"/>
                  <a:pt x="1328209" y="912585"/>
                </a:cubicBezTo>
                <a:cubicBezTo>
                  <a:pt x="1315584" y="912585"/>
                  <a:pt x="1305349" y="902350"/>
                  <a:pt x="1305349" y="889725"/>
                </a:cubicBezTo>
                <a:cubicBezTo>
                  <a:pt x="1305349" y="877100"/>
                  <a:pt x="1315584" y="866865"/>
                  <a:pt x="1328209" y="866865"/>
                </a:cubicBezTo>
                <a:close/>
                <a:moveTo>
                  <a:pt x="1141264" y="866865"/>
                </a:moveTo>
                <a:cubicBezTo>
                  <a:pt x="1153889" y="866865"/>
                  <a:pt x="1164124" y="877100"/>
                  <a:pt x="1164124" y="889725"/>
                </a:cubicBezTo>
                <a:cubicBezTo>
                  <a:pt x="1164124" y="902350"/>
                  <a:pt x="1153889" y="912585"/>
                  <a:pt x="1141264" y="912585"/>
                </a:cubicBezTo>
                <a:cubicBezTo>
                  <a:pt x="1128639" y="912585"/>
                  <a:pt x="1118404" y="902350"/>
                  <a:pt x="1118404" y="889725"/>
                </a:cubicBezTo>
                <a:cubicBezTo>
                  <a:pt x="1118404" y="877100"/>
                  <a:pt x="1128639" y="866865"/>
                  <a:pt x="1141264" y="866865"/>
                </a:cubicBezTo>
                <a:close/>
                <a:moveTo>
                  <a:pt x="954319" y="866865"/>
                </a:moveTo>
                <a:cubicBezTo>
                  <a:pt x="966944" y="866865"/>
                  <a:pt x="977179" y="877100"/>
                  <a:pt x="977179" y="889725"/>
                </a:cubicBezTo>
                <a:cubicBezTo>
                  <a:pt x="977179" y="902350"/>
                  <a:pt x="966944" y="912585"/>
                  <a:pt x="954319" y="912585"/>
                </a:cubicBezTo>
                <a:cubicBezTo>
                  <a:pt x="941694" y="912585"/>
                  <a:pt x="931459" y="902350"/>
                  <a:pt x="931459" y="889725"/>
                </a:cubicBezTo>
                <a:cubicBezTo>
                  <a:pt x="931459" y="877100"/>
                  <a:pt x="941694" y="866865"/>
                  <a:pt x="954319" y="866865"/>
                </a:cubicBezTo>
                <a:close/>
                <a:moveTo>
                  <a:pt x="767374" y="866865"/>
                </a:moveTo>
                <a:cubicBezTo>
                  <a:pt x="779999" y="866865"/>
                  <a:pt x="790234" y="877100"/>
                  <a:pt x="790234" y="889725"/>
                </a:cubicBezTo>
                <a:cubicBezTo>
                  <a:pt x="790234" y="902350"/>
                  <a:pt x="779999" y="912585"/>
                  <a:pt x="767374" y="912585"/>
                </a:cubicBezTo>
                <a:cubicBezTo>
                  <a:pt x="754749" y="912585"/>
                  <a:pt x="744514" y="902350"/>
                  <a:pt x="744514" y="889725"/>
                </a:cubicBezTo>
                <a:cubicBezTo>
                  <a:pt x="744514" y="877100"/>
                  <a:pt x="754749" y="866865"/>
                  <a:pt x="767374" y="866865"/>
                </a:cubicBezTo>
                <a:close/>
                <a:moveTo>
                  <a:pt x="5831593" y="693492"/>
                </a:moveTo>
                <a:cubicBezTo>
                  <a:pt x="5844218" y="693492"/>
                  <a:pt x="5854453" y="703727"/>
                  <a:pt x="5854453" y="716352"/>
                </a:cubicBezTo>
                <a:cubicBezTo>
                  <a:pt x="5854453" y="728977"/>
                  <a:pt x="5844218" y="739212"/>
                  <a:pt x="5831593" y="739212"/>
                </a:cubicBezTo>
                <a:cubicBezTo>
                  <a:pt x="5818968" y="739212"/>
                  <a:pt x="5808733" y="728977"/>
                  <a:pt x="5808733" y="716352"/>
                </a:cubicBezTo>
                <a:cubicBezTo>
                  <a:pt x="5808733" y="703727"/>
                  <a:pt x="5818968" y="693492"/>
                  <a:pt x="5831593" y="693492"/>
                </a:cubicBezTo>
                <a:close/>
                <a:moveTo>
                  <a:pt x="5644648" y="693492"/>
                </a:moveTo>
                <a:cubicBezTo>
                  <a:pt x="5657273" y="693492"/>
                  <a:pt x="5667508" y="703727"/>
                  <a:pt x="5667508" y="716352"/>
                </a:cubicBezTo>
                <a:cubicBezTo>
                  <a:pt x="5667508" y="728977"/>
                  <a:pt x="5657273" y="739212"/>
                  <a:pt x="5644648" y="739212"/>
                </a:cubicBezTo>
                <a:cubicBezTo>
                  <a:pt x="5632023" y="739212"/>
                  <a:pt x="5621788" y="728977"/>
                  <a:pt x="5621788" y="716352"/>
                </a:cubicBezTo>
                <a:cubicBezTo>
                  <a:pt x="5621788" y="703727"/>
                  <a:pt x="5632023" y="693492"/>
                  <a:pt x="5644648" y="693492"/>
                </a:cubicBezTo>
                <a:close/>
                <a:moveTo>
                  <a:pt x="5457703" y="693492"/>
                </a:moveTo>
                <a:cubicBezTo>
                  <a:pt x="5470328" y="693492"/>
                  <a:pt x="5480563" y="703727"/>
                  <a:pt x="5480563" y="716352"/>
                </a:cubicBezTo>
                <a:cubicBezTo>
                  <a:pt x="5480563" y="728977"/>
                  <a:pt x="5470328" y="739212"/>
                  <a:pt x="5457703" y="739212"/>
                </a:cubicBezTo>
                <a:cubicBezTo>
                  <a:pt x="5445078" y="739212"/>
                  <a:pt x="5434843" y="728977"/>
                  <a:pt x="5434843" y="716352"/>
                </a:cubicBezTo>
                <a:cubicBezTo>
                  <a:pt x="5434843" y="703727"/>
                  <a:pt x="5445078" y="693492"/>
                  <a:pt x="5457703" y="693492"/>
                </a:cubicBezTo>
                <a:close/>
                <a:moveTo>
                  <a:pt x="5270758" y="693492"/>
                </a:moveTo>
                <a:cubicBezTo>
                  <a:pt x="5283383" y="693492"/>
                  <a:pt x="5293618" y="703727"/>
                  <a:pt x="5293618" y="716352"/>
                </a:cubicBezTo>
                <a:cubicBezTo>
                  <a:pt x="5293618" y="728977"/>
                  <a:pt x="5283383" y="739212"/>
                  <a:pt x="5270758" y="739212"/>
                </a:cubicBezTo>
                <a:cubicBezTo>
                  <a:pt x="5258133" y="739212"/>
                  <a:pt x="5247898" y="728977"/>
                  <a:pt x="5247898" y="716352"/>
                </a:cubicBezTo>
                <a:cubicBezTo>
                  <a:pt x="5247898" y="703727"/>
                  <a:pt x="5258133" y="693492"/>
                  <a:pt x="5270758" y="693492"/>
                </a:cubicBezTo>
                <a:close/>
                <a:moveTo>
                  <a:pt x="5083813" y="693492"/>
                </a:moveTo>
                <a:cubicBezTo>
                  <a:pt x="5096438" y="693492"/>
                  <a:pt x="5106673" y="703727"/>
                  <a:pt x="5106673" y="716352"/>
                </a:cubicBezTo>
                <a:cubicBezTo>
                  <a:pt x="5106673" y="728977"/>
                  <a:pt x="5096438" y="739212"/>
                  <a:pt x="5083813" y="739212"/>
                </a:cubicBezTo>
                <a:cubicBezTo>
                  <a:pt x="5071188" y="739212"/>
                  <a:pt x="5060953" y="728977"/>
                  <a:pt x="5060953" y="716352"/>
                </a:cubicBezTo>
                <a:cubicBezTo>
                  <a:pt x="5060953" y="703727"/>
                  <a:pt x="5071188" y="693492"/>
                  <a:pt x="5083813" y="693492"/>
                </a:cubicBezTo>
                <a:close/>
                <a:moveTo>
                  <a:pt x="4896868" y="693492"/>
                </a:moveTo>
                <a:cubicBezTo>
                  <a:pt x="4909493" y="693492"/>
                  <a:pt x="4919728" y="703727"/>
                  <a:pt x="4919728" y="716352"/>
                </a:cubicBezTo>
                <a:lnTo>
                  <a:pt x="4919203" y="717621"/>
                </a:lnTo>
                <a:lnTo>
                  <a:pt x="4879303" y="703570"/>
                </a:lnTo>
                <a:lnTo>
                  <a:pt x="4880704" y="700188"/>
                </a:lnTo>
                <a:cubicBezTo>
                  <a:pt x="4884841" y="696051"/>
                  <a:pt x="4890556" y="693492"/>
                  <a:pt x="4896868" y="693492"/>
                </a:cubicBezTo>
                <a:close/>
                <a:moveTo>
                  <a:pt x="1889044" y="693492"/>
                </a:moveTo>
                <a:cubicBezTo>
                  <a:pt x="1901669" y="693492"/>
                  <a:pt x="1911904" y="703727"/>
                  <a:pt x="1911904" y="716352"/>
                </a:cubicBezTo>
                <a:lnTo>
                  <a:pt x="1907353" y="727340"/>
                </a:lnTo>
                <a:lnTo>
                  <a:pt x="1881966" y="736280"/>
                </a:lnTo>
                <a:lnTo>
                  <a:pt x="1872880" y="732517"/>
                </a:lnTo>
                <a:cubicBezTo>
                  <a:pt x="1868743" y="728380"/>
                  <a:pt x="1866184" y="722665"/>
                  <a:pt x="1866184" y="716352"/>
                </a:cubicBezTo>
                <a:cubicBezTo>
                  <a:pt x="1866184" y="703727"/>
                  <a:pt x="1876419" y="693492"/>
                  <a:pt x="1889044" y="693492"/>
                </a:cubicBezTo>
                <a:close/>
                <a:moveTo>
                  <a:pt x="1702099" y="693492"/>
                </a:moveTo>
                <a:cubicBezTo>
                  <a:pt x="1714724" y="693492"/>
                  <a:pt x="1724959" y="703727"/>
                  <a:pt x="1724959" y="716352"/>
                </a:cubicBezTo>
                <a:cubicBezTo>
                  <a:pt x="1724959" y="728977"/>
                  <a:pt x="1714724" y="739212"/>
                  <a:pt x="1702099" y="739212"/>
                </a:cubicBezTo>
                <a:cubicBezTo>
                  <a:pt x="1689474" y="739212"/>
                  <a:pt x="1679239" y="728977"/>
                  <a:pt x="1679239" y="716352"/>
                </a:cubicBezTo>
                <a:cubicBezTo>
                  <a:pt x="1679239" y="703727"/>
                  <a:pt x="1689474" y="693492"/>
                  <a:pt x="1702099" y="693492"/>
                </a:cubicBezTo>
                <a:close/>
                <a:moveTo>
                  <a:pt x="1515154" y="693492"/>
                </a:moveTo>
                <a:cubicBezTo>
                  <a:pt x="1527779" y="693492"/>
                  <a:pt x="1538014" y="703727"/>
                  <a:pt x="1538014" y="716352"/>
                </a:cubicBezTo>
                <a:cubicBezTo>
                  <a:pt x="1538014" y="728977"/>
                  <a:pt x="1527779" y="739212"/>
                  <a:pt x="1515154" y="739212"/>
                </a:cubicBezTo>
                <a:cubicBezTo>
                  <a:pt x="1502529" y="739212"/>
                  <a:pt x="1492294" y="728977"/>
                  <a:pt x="1492294" y="716352"/>
                </a:cubicBezTo>
                <a:cubicBezTo>
                  <a:pt x="1492294" y="703727"/>
                  <a:pt x="1502529" y="693492"/>
                  <a:pt x="1515154" y="693492"/>
                </a:cubicBezTo>
                <a:close/>
                <a:moveTo>
                  <a:pt x="1328209" y="693492"/>
                </a:moveTo>
                <a:cubicBezTo>
                  <a:pt x="1340834" y="693492"/>
                  <a:pt x="1351069" y="703727"/>
                  <a:pt x="1351069" y="716352"/>
                </a:cubicBezTo>
                <a:cubicBezTo>
                  <a:pt x="1351069" y="728977"/>
                  <a:pt x="1340834" y="739212"/>
                  <a:pt x="1328209" y="739212"/>
                </a:cubicBezTo>
                <a:cubicBezTo>
                  <a:pt x="1315584" y="739212"/>
                  <a:pt x="1305349" y="728977"/>
                  <a:pt x="1305349" y="716352"/>
                </a:cubicBezTo>
                <a:cubicBezTo>
                  <a:pt x="1305349" y="703727"/>
                  <a:pt x="1315584" y="693492"/>
                  <a:pt x="1328209" y="693492"/>
                </a:cubicBezTo>
                <a:close/>
                <a:moveTo>
                  <a:pt x="1141264" y="693492"/>
                </a:moveTo>
                <a:cubicBezTo>
                  <a:pt x="1153889" y="693492"/>
                  <a:pt x="1164124" y="703727"/>
                  <a:pt x="1164124" y="716352"/>
                </a:cubicBezTo>
                <a:cubicBezTo>
                  <a:pt x="1164124" y="728977"/>
                  <a:pt x="1153889" y="739212"/>
                  <a:pt x="1141264" y="739212"/>
                </a:cubicBezTo>
                <a:cubicBezTo>
                  <a:pt x="1128639" y="739212"/>
                  <a:pt x="1118404" y="728977"/>
                  <a:pt x="1118404" y="716352"/>
                </a:cubicBezTo>
                <a:cubicBezTo>
                  <a:pt x="1118404" y="703727"/>
                  <a:pt x="1128639" y="693492"/>
                  <a:pt x="1141264" y="693492"/>
                </a:cubicBezTo>
                <a:close/>
                <a:moveTo>
                  <a:pt x="954319" y="693492"/>
                </a:moveTo>
                <a:cubicBezTo>
                  <a:pt x="966944" y="693492"/>
                  <a:pt x="977179" y="703727"/>
                  <a:pt x="977179" y="716352"/>
                </a:cubicBezTo>
                <a:cubicBezTo>
                  <a:pt x="977179" y="728977"/>
                  <a:pt x="966944" y="739212"/>
                  <a:pt x="954319" y="739212"/>
                </a:cubicBezTo>
                <a:cubicBezTo>
                  <a:pt x="941694" y="739212"/>
                  <a:pt x="931459" y="728977"/>
                  <a:pt x="931459" y="716352"/>
                </a:cubicBezTo>
                <a:cubicBezTo>
                  <a:pt x="931459" y="703727"/>
                  <a:pt x="941694" y="693492"/>
                  <a:pt x="954319" y="693492"/>
                </a:cubicBezTo>
                <a:close/>
                <a:moveTo>
                  <a:pt x="1159252" y="554743"/>
                </a:moveTo>
                <a:lnTo>
                  <a:pt x="1157429" y="559144"/>
                </a:lnTo>
                <a:cubicBezTo>
                  <a:pt x="1153292" y="563280"/>
                  <a:pt x="1147577" y="565839"/>
                  <a:pt x="1141264" y="565839"/>
                </a:cubicBezTo>
                <a:lnTo>
                  <a:pt x="1139231" y="564997"/>
                </a:lnTo>
                <a:close/>
                <a:moveTo>
                  <a:pt x="5635060" y="524091"/>
                </a:moveTo>
                <a:lnTo>
                  <a:pt x="5666315" y="540099"/>
                </a:lnTo>
                <a:lnTo>
                  <a:pt x="5667508" y="542979"/>
                </a:lnTo>
                <a:cubicBezTo>
                  <a:pt x="5667508" y="555604"/>
                  <a:pt x="5657273" y="565839"/>
                  <a:pt x="5644648" y="565839"/>
                </a:cubicBezTo>
                <a:cubicBezTo>
                  <a:pt x="5632023" y="565839"/>
                  <a:pt x="5621788" y="555604"/>
                  <a:pt x="5621788" y="542979"/>
                </a:cubicBezTo>
                <a:cubicBezTo>
                  <a:pt x="5621788" y="536667"/>
                  <a:pt x="5624347" y="530952"/>
                  <a:pt x="5628484" y="526815"/>
                </a:cubicBezTo>
                <a:close/>
                <a:moveTo>
                  <a:pt x="5457703" y="520119"/>
                </a:moveTo>
                <a:cubicBezTo>
                  <a:pt x="5470328" y="520119"/>
                  <a:pt x="5480563" y="530354"/>
                  <a:pt x="5480563" y="542979"/>
                </a:cubicBezTo>
                <a:cubicBezTo>
                  <a:pt x="5480563" y="555604"/>
                  <a:pt x="5470328" y="565839"/>
                  <a:pt x="5457703" y="565839"/>
                </a:cubicBezTo>
                <a:cubicBezTo>
                  <a:pt x="5445078" y="565839"/>
                  <a:pt x="5434843" y="555604"/>
                  <a:pt x="5434843" y="542979"/>
                </a:cubicBezTo>
                <a:cubicBezTo>
                  <a:pt x="5434843" y="530354"/>
                  <a:pt x="5445078" y="520119"/>
                  <a:pt x="5457703" y="520119"/>
                </a:cubicBezTo>
                <a:close/>
                <a:moveTo>
                  <a:pt x="5270758" y="520119"/>
                </a:moveTo>
                <a:cubicBezTo>
                  <a:pt x="5283383" y="520119"/>
                  <a:pt x="5293618" y="530354"/>
                  <a:pt x="5293618" y="542979"/>
                </a:cubicBezTo>
                <a:cubicBezTo>
                  <a:pt x="5293618" y="555604"/>
                  <a:pt x="5283383" y="565839"/>
                  <a:pt x="5270758" y="565839"/>
                </a:cubicBezTo>
                <a:cubicBezTo>
                  <a:pt x="5258133" y="565839"/>
                  <a:pt x="5247898" y="555604"/>
                  <a:pt x="5247898" y="542979"/>
                </a:cubicBezTo>
                <a:cubicBezTo>
                  <a:pt x="5247898" y="530354"/>
                  <a:pt x="5258133" y="520119"/>
                  <a:pt x="5270758" y="520119"/>
                </a:cubicBezTo>
                <a:close/>
                <a:moveTo>
                  <a:pt x="5083813" y="520119"/>
                </a:moveTo>
                <a:cubicBezTo>
                  <a:pt x="5096438" y="520119"/>
                  <a:pt x="5106673" y="530354"/>
                  <a:pt x="5106673" y="542979"/>
                </a:cubicBezTo>
                <a:cubicBezTo>
                  <a:pt x="5106673" y="555604"/>
                  <a:pt x="5096438" y="565839"/>
                  <a:pt x="5083813" y="565839"/>
                </a:cubicBezTo>
                <a:cubicBezTo>
                  <a:pt x="5071188" y="565839"/>
                  <a:pt x="5060953" y="555604"/>
                  <a:pt x="5060953" y="542979"/>
                </a:cubicBezTo>
                <a:cubicBezTo>
                  <a:pt x="5060953" y="530354"/>
                  <a:pt x="5071188" y="520119"/>
                  <a:pt x="5083813" y="520119"/>
                </a:cubicBezTo>
                <a:close/>
                <a:moveTo>
                  <a:pt x="4896868" y="520119"/>
                </a:moveTo>
                <a:cubicBezTo>
                  <a:pt x="4909493" y="520119"/>
                  <a:pt x="4919728" y="530354"/>
                  <a:pt x="4919728" y="542979"/>
                </a:cubicBezTo>
                <a:cubicBezTo>
                  <a:pt x="4919728" y="555604"/>
                  <a:pt x="4909493" y="565839"/>
                  <a:pt x="4896868" y="565839"/>
                </a:cubicBezTo>
                <a:cubicBezTo>
                  <a:pt x="4884243" y="565839"/>
                  <a:pt x="4874008" y="555604"/>
                  <a:pt x="4874008" y="542979"/>
                </a:cubicBezTo>
                <a:cubicBezTo>
                  <a:pt x="4874008" y="530354"/>
                  <a:pt x="4884243" y="520119"/>
                  <a:pt x="4896868" y="520119"/>
                </a:cubicBezTo>
                <a:close/>
                <a:moveTo>
                  <a:pt x="4709923" y="520119"/>
                </a:moveTo>
                <a:cubicBezTo>
                  <a:pt x="4722548" y="520119"/>
                  <a:pt x="4732783" y="530354"/>
                  <a:pt x="4732783" y="542979"/>
                </a:cubicBezTo>
                <a:cubicBezTo>
                  <a:pt x="4732783" y="555604"/>
                  <a:pt x="4722548" y="565839"/>
                  <a:pt x="4709923" y="565839"/>
                </a:cubicBezTo>
                <a:cubicBezTo>
                  <a:pt x="4697298" y="565839"/>
                  <a:pt x="4687063" y="555604"/>
                  <a:pt x="4687063" y="542979"/>
                </a:cubicBezTo>
                <a:cubicBezTo>
                  <a:pt x="4687063" y="530354"/>
                  <a:pt x="4697298" y="520119"/>
                  <a:pt x="4709923" y="520119"/>
                </a:cubicBezTo>
                <a:close/>
                <a:moveTo>
                  <a:pt x="4522978" y="520119"/>
                </a:moveTo>
                <a:cubicBezTo>
                  <a:pt x="4535603" y="520119"/>
                  <a:pt x="4545838" y="530354"/>
                  <a:pt x="4545838" y="542979"/>
                </a:cubicBezTo>
                <a:cubicBezTo>
                  <a:pt x="4545838" y="555604"/>
                  <a:pt x="4535603" y="565839"/>
                  <a:pt x="4522978" y="565839"/>
                </a:cubicBezTo>
                <a:cubicBezTo>
                  <a:pt x="4510353" y="565839"/>
                  <a:pt x="4500118" y="555604"/>
                  <a:pt x="4500118" y="542979"/>
                </a:cubicBezTo>
                <a:cubicBezTo>
                  <a:pt x="4500118" y="530354"/>
                  <a:pt x="4510353" y="520119"/>
                  <a:pt x="4522978" y="520119"/>
                </a:cubicBezTo>
                <a:close/>
                <a:moveTo>
                  <a:pt x="4336033" y="520119"/>
                </a:moveTo>
                <a:cubicBezTo>
                  <a:pt x="4348658" y="520119"/>
                  <a:pt x="4358893" y="530354"/>
                  <a:pt x="4358893" y="542979"/>
                </a:cubicBezTo>
                <a:lnTo>
                  <a:pt x="4353603" y="555752"/>
                </a:lnTo>
                <a:lnTo>
                  <a:pt x="4315436" y="548443"/>
                </a:lnTo>
                <a:lnTo>
                  <a:pt x="4313173" y="542979"/>
                </a:lnTo>
                <a:cubicBezTo>
                  <a:pt x="4313173" y="530354"/>
                  <a:pt x="4323408" y="520119"/>
                  <a:pt x="4336033" y="520119"/>
                </a:cubicBezTo>
                <a:close/>
                <a:moveTo>
                  <a:pt x="2636824" y="520119"/>
                </a:moveTo>
                <a:lnTo>
                  <a:pt x="2652567" y="526640"/>
                </a:lnTo>
                <a:lnTo>
                  <a:pt x="2617989" y="533262"/>
                </a:lnTo>
                <a:lnTo>
                  <a:pt x="2620660" y="526815"/>
                </a:lnTo>
                <a:cubicBezTo>
                  <a:pt x="2624797" y="522678"/>
                  <a:pt x="2630512" y="520119"/>
                  <a:pt x="2636824" y="520119"/>
                </a:cubicBezTo>
                <a:close/>
                <a:moveTo>
                  <a:pt x="2449879" y="520119"/>
                </a:moveTo>
                <a:cubicBezTo>
                  <a:pt x="2462504" y="520119"/>
                  <a:pt x="2472739" y="530354"/>
                  <a:pt x="2472739" y="542979"/>
                </a:cubicBezTo>
                <a:cubicBezTo>
                  <a:pt x="2472739" y="549292"/>
                  <a:pt x="2470181" y="555007"/>
                  <a:pt x="2466044" y="559144"/>
                </a:cubicBezTo>
                <a:lnTo>
                  <a:pt x="2451598" y="565127"/>
                </a:lnTo>
                <a:lnTo>
                  <a:pt x="2449247" y="565577"/>
                </a:lnTo>
                <a:lnTo>
                  <a:pt x="2433715" y="559144"/>
                </a:lnTo>
                <a:cubicBezTo>
                  <a:pt x="2429578" y="555007"/>
                  <a:pt x="2427019" y="549292"/>
                  <a:pt x="2427019" y="542979"/>
                </a:cubicBezTo>
                <a:cubicBezTo>
                  <a:pt x="2427019" y="530354"/>
                  <a:pt x="2437254" y="520119"/>
                  <a:pt x="2449879" y="520119"/>
                </a:cubicBezTo>
                <a:close/>
                <a:moveTo>
                  <a:pt x="2262934" y="520119"/>
                </a:moveTo>
                <a:cubicBezTo>
                  <a:pt x="2275559" y="520119"/>
                  <a:pt x="2285794" y="530354"/>
                  <a:pt x="2285794" y="542979"/>
                </a:cubicBezTo>
                <a:cubicBezTo>
                  <a:pt x="2285794" y="555604"/>
                  <a:pt x="2275559" y="565839"/>
                  <a:pt x="2262934" y="565839"/>
                </a:cubicBezTo>
                <a:cubicBezTo>
                  <a:pt x="2250309" y="565839"/>
                  <a:pt x="2240074" y="555604"/>
                  <a:pt x="2240074" y="542979"/>
                </a:cubicBezTo>
                <a:cubicBezTo>
                  <a:pt x="2240074" y="530354"/>
                  <a:pt x="2250309" y="520119"/>
                  <a:pt x="2262934" y="520119"/>
                </a:cubicBezTo>
                <a:close/>
                <a:moveTo>
                  <a:pt x="2075989" y="520119"/>
                </a:moveTo>
                <a:cubicBezTo>
                  <a:pt x="2088614" y="520119"/>
                  <a:pt x="2098849" y="530354"/>
                  <a:pt x="2098849" y="542979"/>
                </a:cubicBezTo>
                <a:cubicBezTo>
                  <a:pt x="2098849" y="555604"/>
                  <a:pt x="2088614" y="565839"/>
                  <a:pt x="2075989" y="565839"/>
                </a:cubicBezTo>
                <a:cubicBezTo>
                  <a:pt x="2063364" y="565839"/>
                  <a:pt x="2053129" y="555604"/>
                  <a:pt x="2053129" y="542979"/>
                </a:cubicBezTo>
                <a:cubicBezTo>
                  <a:pt x="2053129" y="530354"/>
                  <a:pt x="2063364" y="520119"/>
                  <a:pt x="2075989" y="520119"/>
                </a:cubicBezTo>
                <a:close/>
                <a:moveTo>
                  <a:pt x="1889044" y="520119"/>
                </a:moveTo>
                <a:cubicBezTo>
                  <a:pt x="1901669" y="520119"/>
                  <a:pt x="1911904" y="530354"/>
                  <a:pt x="1911904" y="542979"/>
                </a:cubicBezTo>
                <a:cubicBezTo>
                  <a:pt x="1911904" y="555604"/>
                  <a:pt x="1901669" y="565839"/>
                  <a:pt x="1889044" y="565839"/>
                </a:cubicBezTo>
                <a:cubicBezTo>
                  <a:pt x="1876419" y="565839"/>
                  <a:pt x="1866184" y="555604"/>
                  <a:pt x="1866184" y="542979"/>
                </a:cubicBezTo>
                <a:cubicBezTo>
                  <a:pt x="1866184" y="530354"/>
                  <a:pt x="1876419" y="520119"/>
                  <a:pt x="1889044" y="520119"/>
                </a:cubicBezTo>
                <a:close/>
                <a:moveTo>
                  <a:pt x="1702099" y="520119"/>
                </a:moveTo>
                <a:cubicBezTo>
                  <a:pt x="1714724" y="520119"/>
                  <a:pt x="1724959" y="530354"/>
                  <a:pt x="1724959" y="542979"/>
                </a:cubicBezTo>
                <a:cubicBezTo>
                  <a:pt x="1724959" y="555604"/>
                  <a:pt x="1714724" y="565839"/>
                  <a:pt x="1702099" y="565839"/>
                </a:cubicBezTo>
                <a:cubicBezTo>
                  <a:pt x="1689474" y="565839"/>
                  <a:pt x="1679239" y="555604"/>
                  <a:pt x="1679239" y="542979"/>
                </a:cubicBezTo>
                <a:cubicBezTo>
                  <a:pt x="1679239" y="530354"/>
                  <a:pt x="1689474" y="520119"/>
                  <a:pt x="1702099" y="520119"/>
                </a:cubicBezTo>
                <a:close/>
                <a:moveTo>
                  <a:pt x="1515154" y="520119"/>
                </a:moveTo>
                <a:cubicBezTo>
                  <a:pt x="1527779" y="520119"/>
                  <a:pt x="1538014" y="530354"/>
                  <a:pt x="1538014" y="542979"/>
                </a:cubicBezTo>
                <a:cubicBezTo>
                  <a:pt x="1538014" y="555604"/>
                  <a:pt x="1527779" y="565839"/>
                  <a:pt x="1515154" y="565839"/>
                </a:cubicBezTo>
                <a:cubicBezTo>
                  <a:pt x="1502529" y="565839"/>
                  <a:pt x="1492294" y="555604"/>
                  <a:pt x="1492294" y="542979"/>
                </a:cubicBezTo>
                <a:cubicBezTo>
                  <a:pt x="1492294" y="530354"/>
                  <a:pt x="1502529" y="520119"/>
                  <a:pt x="1515154" y="520119"/>
                </a:cubicBezTo>
                <a:close/>
                <a:moveTo>
                  <a:pt x="1328209" y="520119"/>
                </a:moveTo>
                <a:cubicBezTo>
                  <a:pt x="1340834" y="520119"/>
                  <a:pt x="1351069" y="530354"/>
                  <a:pt x="1351069" y="542979"/>
                </a:cubicBezTo>
                <a:cubicBezTo>
                  <a:pt x="1351069" y="555604"/>
                  <a:pt x="1340834" y="565839"/>
                  <a:pt x="1328209" y="565839"/>
                </a:cubicBezTo>
                <a:cubicBezTo>
                  <a:pt x="1315584" y="565839"/>
                  <a:pt x="1305349" y="555604"/>
                  <a:pt x="1305349" y="542979"/>
                </a:cubicBezTo>
                <a:cubicBezTo>
                  <a:pt x="1305349" y="530354"/>
                  <a:pt x="1315584" y="520119"/>
                  <a:pt x="1328209" y="520119"/>
                </a:cubicBezTo>
                <a:close/>
                <a:moveTo>
                  <a:pt x="1536305" y="373733"/>
                </a:moveTo>
                <a:lnTo>
                  <a:pt x="1531319" y="385771"/>
                </a:lnTo>
                <a:cubicBezTo>
                  <a:pt x="1527182" y="389908"/>
                  <a:pt x="1521467" y="392466"/>
                  <a:pt x="1515154" y="392466"/>
                </a:cubicBezTo>
                <a:lnTo>
                  <a:pt x="1504568" y="388081"/>
                </a:lnTo>
                <a:close/>
                <a:moveTo>
                  <a:pt x="5261225" y="350695"/>
                </a:moveTo>
                <a:lnTo>
                  <a:pt x="5290579" y="362269"/>
                </a:lnTo>
                <a:lnTo>
                  <a:pt x="5293618" y="369606"/>
                </a:lnTo>
                <a:cubicBezTo>
                  <a:pt x="5293618" y="382231"/>
                  <a:pt x="5283383" y="392466"/>
                  <a:pt x="5270758" y="392466"/>
                </a:cubicBezTo>
                <a:cubicBezTo>
                  <a:pt x="5258133" y="392466"/>
                  <a:pt x="5247898" y="382231"/>
                  <a:pt x="5247898" y="369606"/>
                </a:cubicBezTo>
                <a:cubicBezTo>
                  <a:pt x="5247898" y="363294"/>
                  <a:pt x="5250457" y="357579"/>
                  <a:pt x="5254594" y="353442"/>
                </a:cubicBezTo>
                <a:close/>
                <a:moveTo>
                  <a:pt x="5083813" y="346746"/>
                </a:moveTo>
                <a:cubicBezTo>
                  <a:pt x="5096438" y="346746"/>
                  <a:pt x="5106673" y="356981"/>
                  <a:pt x="5106673" y="369606"/>
                </a:cubicBezTo>
                <a:cubicBezTo>
                  <a:pt x="5106673" y="382231"/>
                  <a:pt x="5096438" y="392466"/>
                  <a:pt x="5083813" y="392466"/>
                </a:cubicBezTo>
                <a:cubicBezTo>
                  <a:pt x="5071188" y="392466"/>
                  <a:pt x="5060953" y="382231"/>
                  <a:pt x="5060953" y="369606"/>
                </a:cubicBezTo>
                <a:cubicBezTo>
                  <a:pt x="5060953" y="356981"/>
                  <a:pt x="5071188" y="346746"/>
                  <a:pt x="5083813" y="346746"/>
                </a:cubicBezTo>
                <a:close/>
                <a:moveTo>
                  <a:pt x="4896868" y="346746"/>
                </a:moveTo>
                <a:cubicBezTo>
                  <a:pt x="4909493" y="346746"/>
                  <a:pt x="4919728" y="356981"/>
                  <a:pt x="4919728" y="369606"/>
                </a:cubicBezTo>
                <a:cubicBezTo>
                  <a:pt x="4919728" y="382231"/>
                  <a:pt x="4909493" y="392466"/>
                  <a:pt x="4896868" y="392466"/>
                </a:cubicBezTo>
                <a:cubicBezTo>
                  <a:pt x="4884243" y="392466"/>
                  <a:pt x="4874008" y="382231"/>
                  <a:pt x="4874008" y="369606"/>
                </a:cubicBezTo>
                <a:cubicBezTo>
                  <a:pt x="4874008" y="356981"/>
                  <a:pt x="4884243" y="346746"/>
                  <a:pt x="4896868" y="346746"/>
                </a:cubicBezTo>
                <a:close/>
                <a:moveTo>
                  <a:pt x="4709923" y="346746"/>
                </a:moveTo>
                <a:cubicBezTo>
                  <a:pt x="4722548" y="346746"/>
                  <a:pt x="4732783" y="356981"/>
                  <a:pt x="4732783" y="369606"/>
                </a:cubicBezTo>
                <a:cubicBezTo>
                  <a:pt x="4732783" y="382231"/>
                  <a:pt x="4722548" y="392466"/>
                  <a:pt x="4709923" y="392466"/>
                </a:cubicBezTo>
                <a:cubicBezTo>
                  <a:pt x="4697298" y="392466"/>
                  <a:pt x="4687063" y="382231"/>
                  <a:pt x="4687063" y="369606"/>
                </a:cubicBezTo>
                <a:cubicBezTo>
                  <a:pt x="4687063" y="356981"/>
                  <a:pt x="4697298" y="346746"/>
                  <a:pt x="4709923" y="346746"/>
                </a:cubicBezTo>
                <a:close/>
                <a:moveTo>
                  <a:pt x="4522978" y="346746"/>
                </a:moveTo>
                <a:cubicBezTo>
                  <a:pt x="4535603" y="346746"/>
                  <a:pt x="4545838" y="356981"/>
                  <a:pt x="4545838" y="369606"/>
                </a:cubicBezTo>
                <a:cubicBezTo>
                  <a:pt x="4545838" y="382231"/>
                  <a:pt x="4535603" y="392466"/>
                  <a:pt x="4522978" y="392466"/>
                </a:cubicBezTo>
                <a:cubicBezTo>
                  <a:pt x="4510353" y="392466"/>
                  <a:pt x="4500118" y="382231"/>
                  <a:pt x="4500118" y="369606"/>
                </a:cubicBezTo>
                <a:cubicBezTo>
                  <a:pt x="4500118" y="356981"/>
                  <a:pt x="4510353" y="346746"/>
                  <a:pt x="4522978" y="346746"/>
                </a:cubicBezTo>
                <a:close/>
                <a:moveTo>
                  <a:pt x="4336033" y="346746"/>
                </a:moveTo>
                <a:cubicBezTo>
                  <a:pt x="4348658" y="346746"/>
                  <a:pt x="4358893" y="356981"/>
                  <a:pt x="4358893" y="369606"/>
                </a:cubicBezTo>
                <a:cubicBezTo>
                  <a:pt x="4358893" y="382231"/>
                  <a:pt x="4348658" y="392466"/>
                  <a:pt x="4336033" y="392466"/>
                </a:cubicBezTo>
                <a:cubicBezTo>
                  <a:pt x="4323408" y="392466"/>
                  <a:pt x="4313173" y="382231"/>
                  <a:pt x="4313173" y="369606"/>
                </a:cubicBezTo>
                <a:cubicBezTo>
                  <a:pt x="4313173" y="356981"/>
                  <a:pt x="4323408" y="346746"/>
                  <a:pt x="4336033" y="346746"/>
                </a:cubicBezTo>
                <a:close/>
                <a:moveTo>
                  <a:pt x="4132393" y="346746"/>
                </a:moveTo>
                <a:cubicBezTo>
                  <a:pt x="4145018" y="346746"/>
                  <a:pt x="4155253" y="356981"/>
                  <a:pt x="4155253" y="369606"/>
                </a:cubicBezTo>
                <a:cubicBezTo>
                  <a:pt x="4155253" y="382231"/>
                  <a:pt x="4145018" y="392466"/>
                  <a:pt x="4132393" y="392466"/>
                </a:cubicBezTo>
                <a:cubicBezTo>
                  <a:pt x="4119768" y="392466"/>
                  <a:pt x="4109533" y="382231"/>
                  <a:pt x="4109533" y="369606"/>
                </a:cubicBezTo>
                <a:cubicBezTo>
                  <a:pt x="4109533" y="356981"/>
                  <a:pt x="4119768" y="346746"/>
                  <a:pt x="4132393" y="346746"/>
                </a:cubicBezTo>
                <a:close/>
                <a:moveTo>
                  <a:pt x="3945439" y="346746"/>
                </a:moveTo>
                <a:cubicBezTo>
                  <a:pt x="3958064" y="346746"/>
                  <a:pt x="3968299" y="356981"/>
                  <a:pt x="3968299" y="369606"/>
                </a:cubicBezTo>
                <a:cubicBezTo>
                  <a:pt x="3968299" y="382231"/>
                  <a:pt x="3958064" y="392466"/>
                  <a:pt x="3945439" y="392466"/>
                </a:cubicBezTo>
                <a:cubicBezTo>
                  <a:pt x="3932814" y="392466"/>
                  <a:pt x="3922579" y="382231"/>
                  <a:pt x="3922579" y="369606"/>
                </a:cubicBezTo>
                <a:cubicBezTo>
                  <a:pt x="3922579" y="356981"/>
                  <a:pt x="3932814" y="346746"/>
                  <a:pt x="3945439" y="346746"/>
                </a:cubicBezTo>
                <a:close/>
                <a:moveTo>
                  <a:pt x="3758494" y="346746"/>
                </a:moveTo>
                <a:cubicBezTo>
                  <a:pt x="3771119" y="346746"/>
                  <a:pt x="3781354" y="356981"/>
                  <a:pt x="3781354" y="369606"/>
                </a:cubicBezTo>
                <a:cubicBezTo>
                  <a:pt x="3781354" y="382231"/>
                  <a:pt x="3771119" y="392466"/>
                  <a:pt x="3758494" y="392466"/>
                </a:cubicBezTo>
                <a:cubicBezTo>
                  <a:pt x="3745869" y="392466"/>
                  <a:pt x="3735634" y="382231"/>
                  <a:pt x="3735634" y="369606"/>
                </a:cubicBezTo>
                <a:cubicBezTo>
                  <a:pt x="3735634" y="356981"/>
                  <a:pt x="3745869" y="346746"/>
                  <a:pt x="3758494" y="346746"/>
                </a:cubicBezTo>
                <a:close/>
                <a:moveTo>
                  <a:pt x="3571549" y="346746"/>
                </a:moveTo>
                <a:cubicBezTo>
                  <a:pt x="3584174" y="346746"/>
                  <a:pt x="3594409" y="356981"/>
                  <a:pt x="3594409" y="369606"/>
                </a:cubicBezTo>
                <a:cubicBezTo>
                  <a:pt x="3594409" y="382231"/>
                  <a:pt x="3584174" y="392466"/>
                  <a:pt x="3571549" y="392466"/>
                </a:cubicBezTo>
                <a:cubicBezTo>
                  <a:pt x="3558924" y="392466"/>
                  <a:pt x="3548689" y="382231"/>
                  <a:pt x="3548689" y="369606"/>
                </a:cubicBezTo>
                <a:cubicBezTo>
                  <a:pt x="3548689" y="356981"/>
                  <a:pt x="3558924" y="346746"/>
                  <a:pt x="3571549" y="346746"/>
                </a:cubicBezTo>
                <a:close/>
                <a:moveTo>
                  <a:pt x="3384604" y="346746"/>
                </a:moveTo>
                <a:cubicBezTo>
                  <a:pt x="3397229" y="346746"/>
                  <a:pt x="3407464" y="356981"/>
                  <a:pt x="3407464" y="369606"/>
                </a:cubicBezTo>
                <a:cubicBezTo>
                  <a:pt x="3407464" y="382231"/>
                  <a:pt x="3397229" y="392466"/>
                  <a:pt x="3384604" y="392466"/>
                </a:cubicBezTo>
                <a:cubicBezTo>
                  <a:pt x="3371979" y="392466"/>
                  <a:pt x="3361744" y="382231"/>
                  <a:pt x="3361744" y="369606"/>
                </a:cubicBezTo>
                <a:cubicBezTo>
                  <a:pt x="3361744" y="356981"/>
                  <a:pt x="3371979" y="346746"/>
                  <a:pt x="3384604" y="346746"/>
                </a:cubicBezTo>
                <a:close/>
                <a:moveTo>
                  <a:pt x="3197659" y="346746"/>
                </a:moveTo>
                <a:cubicBezTo>
                  <a:pt x="3210284" y="346746"/>
                  <a:pt x="3220519" y="356981"/>
                  <a:pt x="3220519" y="369606"/>
                </a:cubicBezTo>
                <a:cubicBezTo>
                  <a:pt x="3220519" y="382231"/>
                  <a:pt x="3210284" y="392466"/>
                  <a:pt x="3197659" y="392466"/>
                </a:cubicBezTo>
                <a:cubicBezTo>
                  <a:pt x="3185034" y="392466"/>
                  <a:pt x="3174799" y="382231"/>
                  <a:pt x="3174799" y="369606"/>
                </a:cubicBezTo>
                <a:cubicBezTo>
                  <a:pt x="3174799" y="356981"/>
                  <a:pt x="3185034" y="346746"/>
                  <a:pt x="3197659" y="346746"/>
                </a:cubicBezTo>
                <a:close/>
                <a:moveTo>
                  <a:pt x="3010714" y="346746"/>
                </a:moveTo>
                <a:cubicBezTo>
                  <a:pt x="3023339" y="346746"/>
                  <a:pt x="3033574" y="356981"/>
                  <a:pt x="3033574" y="369606"/>
                </a:cubicBezTo>
                <a:cubicBezTo>
                  <a:pt x="3033574" y="382231"/>
                  <a:pt x="3023339" y="392466"/>
                  <a:pt x="3010714" y="392466"/>
                </a:cubicBezTo>
                <a:cubicBezTo>
                  <a:pt x="2998089" y="392466"/>
                  <a:pt x="2987854" y="382231"/>
                  <a:pt x="2987854" y="369606"/>
                </a:cubicBezTo>
                <a:cubicBezTo>
                  <a:pt x="2987854" y="356981"/>
                  <a:pt x="2998089" y="346746"/>
                  <a:pt x="3010714" y="346746"/>
                </a:cubicBezTo>
                <a:close/>
                <a:moveTo>
                  <a:pt x="2823769" y="346746"/>
                </a:moveTo>
                <a:cubicBezTo>
                  <a:pt x="2836394" y="346746"/>
                  <a:pt x="2846629" y="356981"/>
                  <a:pt x="2846629" y="369606"/>
                </a:cubicBezTo>
                <a:cubicBezTo>
                  <a:pt x="2846629" y="382231"/>
                  <a:pt x="2836394" y="392466"/>
                  <a:pt x="2823769" y="392466"/>
                </a:cubicBezTo>
                <a:cubicBezTo>
                  <a:pt x="2811144" y="392466"/>
                  <a:pt x="2800909" y="382231"/>
                  <a:pt x="2800909" y="369606"/>
                </a:cubicBezTo>
                <a:cubicBezTo>
                  <a:pt x="2800909" y="356981"/>
                  <a:pt x="2811144" y="346746"/>
                  <a:pt x="2823769" y="346746"/>
                </a:cubicBezTo>
                <a:close/>
                <a:moveTo>
                  <a:pt x="2636824" y="346746"/>
                </a:moveTo>
                <a:cubicBezTo>
                  <a:pt x="2649449" y="346746"/>
                  <a:pt x="2659684" y="356981"/>
                  <a:pt x="2659684" y="369606"/>
                </a:cubicBezTo>
                <a:cubicBezTo>
                  <a:pt x="2659684" y="382231"/>
                  <a:pt x="2649449" y="392466"/>
                  <a:pt x="2636824" y="392466"/>
                </a:cubicBezTo>
                <a:cubicBezTo>
                  <a:pt x="2624199" y="392466"/>
                  <a:pt x="2613964" y="382231"/>
                  <a:pt x="2613964" y="369606"/>
                </a:cubicBezTo>
                <a:cubicBezTo>
                  <a:pt x="2613964" y="356981"/>
                  <a:pt x="2624199" y="346746"/>
                  <a:pt x="2636824" y="346746"/>
                </a:cubicBezTo>
                <a:close/>
                <a:moveTo>
                  <a:pt x="2449879" y="346746"/>
                </a:moveTo>
                <a:cubicBezTo>
                  <a:pt x="2462504" y="346746"/>
                  <a:pt x="2472739" y="356981"/>
                  <a:pt x="2472739" y="369606"/>
                </a:cubicBezTo>
                <a:cubicBezTo>
                  <a:pt x="2472739" y="382231"/>
                  <a:pt x="2462504" y="392466"/>
                  <a:pt x="2449879" y="392466"/>
                </a:cubicBezTo>
                <a:cubicBezTo>
                  <a:pt x="2437254" y="392466"/>
                  <a:pt x="2427019" y="382231"/>
                  <a:pt x="2427019" y="369606"/>
                </a:cubicBezTo>
                <a:cubicBezTo>
                  <a:pt x="2427019" y="356981"/>
                  <a:pt x="2437254" y="346746"/>
                  <a:pt x="2449879" y="346746"/>
                </a:cubicBezTo>
                <a:close/>
                <a:moveTo>
                  <a:pt x="2262934" y="346746"/>
                </a:moveTo>
                <a:cubicBezTo>
                  <a:pt x="2275559" y="346746"/>
                  <a:pt x="2285794" y="356981"/>
                  <a:pt x="2285794" y="369606"/>
                </a:cubicBezTo>
                <a:cubicBezTo>
                  <a:pt x="2285794" y="382231"/>
                  <a:pt x="2275559" y="392466"/>
                  <a:pt x="2262934" y="392466"/>
                </a:cubicBezTo>
                <a:cubicBezTo>
                  <a:pt x="2250309" y="392466"/>
                  <a:pt x="2240074" y="382231"/>
                  <a:pt x="2240074" y="369606"/>
                </a:cubicBezTo>
                <a:cubicBezTo>
                  <a:pt x="2240074" y="356981"/>
                  <a:pt x="2250309" y="346746"/>
                  <a:pt x="2262934" y="346746"/>
                </a:cubicBezTo>
                <a:close/>
                <a:moveTo>
                  <a:pt x="2075989" y="346746"/>
                </a:moveTo>
                <a:cubicBezTo>
                  <a:pt x="2088614" y="346746"/>
                  <a:pt x="2098849" y="356981"/>
                  <a:pt x="2098849" y="369606"/>
                </a:cubicBezTo>
                <a:cubicBezTo>
                  <a:pt x="2098849" y="382231"/>
                  <a:pt x="2088614" y="392466"/>
                  <a:pt x="2075989" y="392466"/>
                </a:cubicBezTo>
                <a:cubicBezTo>
                  <a:pt x="2063364" y="392466"/>
                  <a:pt x="2053129" y="382231"/>
                  <a:pt x="2053129" y="369606"/>
                </a:cubicBezTo>
                <a:cubicBezTo>
                  <a:pt x="2053129" y="356981"/>
                  <a:pt x="2063364" y="346746"/>
                  <a:pt x="2075989" y="346746"/>
                </a:cubicBezTo>
                <a:close/>
                <a:moveTo>
                  <a:pt x="1889044" y="346746"/>
                </a:moveTo>
                <a:cubicBezTo>
                  <a:pt x="1901669" y="346746"/>
                  <a:pt x="1911904" y="356981"/>
                  <a:pt x="1911904" y="369606"/>
                </a:cubicBezTo>
                <a:cubicBezTo>
                  <a:pt x="1911904" y="382231"/>
                  <a:pt x="1901669" y="392466"/>
                  <a:pt x="1889044" y="392466"/>
                </a:cubicBezTo>
                <a:cubicBezTo>
                  <a:pt x="1876419" y="392466"/>
                  <a:pt x="1866184" y="382231"/>
                  <a:pt x="1866184" y="369606"/>
                </a:cubicBezTo>
                <a:cubicBezTo>
                  <a:pt x="1866184" y="356981"/>
                  <a:pt x="1876419" y="346746"/>
                  <a:pt x="1889044" y="346746"/>
                </a:cubicBezTo>
                <a:close/>
                <a:moveTo>
                  <a:pt x="1702099" y="346746"/>
                </a:moveTo>
                <a:cubicBezTo>
                  <a:pt x="1714724" y="346746"/>
                  <a:pt x="1724959" y="356981"/>
                  <a:pt x="1724959" y="369606"/>
                </a:cubicBezTo>
                <a:cubicBezTo>
                  <a:pt x="1724959" y="382231"/>
                  <a:pt x="1714724" y="392466"/>
                  <a:pt x="1702099" y="392466"/>
                </a:cubicBezTo>
                <a:cubicBezTo>
                  <a:pt x="1689474" y="392466"/>
                  <a:pt x="1679239" y="382231"/>
                  <a:pt x="1679239" y="369606"/>
                </a:cubicBezTo>
                <a:cubicBezTo>
                  <a:pt x="1679239" y="356981"/>
                  <a:pt x="1689474" y="346746"/>
                  <a:pt x="1702099" y="346746"/>
                </a:cubicBezTo>
                <a:close/>
                <a:moveTo>
                  <a:pt x="4880592" y="212127"/>
                </a:moveTo>
                <a:lnTo>
                  <a:pt x="4898807" y="218290"/>
                </a:lnTo>
                <a:lnTo>
                  <a:pt x="4896868" y="219093"/>
                </a:lnTo>
                <a:cubicBezTo>
                  <a:pt x="4890556" y="219093"/>
                  <a:pt x="4884841" y="216535"/>
                  <a:pt x="4880704" y="212398"/>
                </a:cubicBezTo>
                <a:close/>
                <a:moveTo>
                  <a:pt x="2088405" y="178516"/>
                </a:moveTo>
                <a:lnTo>
                  <a:pt x="2092154" y="180069"/>
                </a:lnTo>
                <a:cubicBezTo>
                  <a:pt x="2096291" y="184206"/>
                  <a:pt x="2098849" y="189921"/>
                  <a:pt x="2098849" y="196233"/>
                </a:cubicBezTo>
                <a:cubicBezTo>
                  <a:pt x="2098849" y="208858"/>
                  <a:pt x="2088614" y="219093"/>
                  <a:pt x="2075989" y="219093"/>
                </a:cubicBezTo>
                <a:cubicBezTo>
                  <a:pt x="2063364" y="219093"/>
                  <a:pt x="2053129" y="208858"/>
                  <a:pt x="2053129" y="196233"/>
                </a:cubicBezTo>
                <a:lnTo>
                  <a:pt x="2056744" y="187507"/>
                </a:lnTo>
                <a:close/>
                <a:moveTo>
                  <a:pt x="4709923" y="173373"/>
                </a:moveTo>
                <a:cubicBezTo>
                  <a:pt x="4722548" y="173373"/>
                  <a:pt x="4732783" y="183608"/>
                  <a:pt x="4732783" y="196233"/>
                </a:cubicBezTo>
                <a:cubicBezTo>
                  <a:pt x="4732783" y="208858"/>
                  <a:pt x="4722548" y="219093"/>
                  <a:pt x="4709923" y="219093"/>
                </a:cubicBezTo>
                <a:cubicBezTo>
                  <a:pt x="4697298" y="219093"/>
                  <a:pt x="4687063" y="208858"/>
                  <a:pt x="4687063" y="196233"/>
                </a:cubicBezTo>
                <a:cubicBezTo>
                  <a:pt x="4687063" y="183608"/>
                  <a:pt x="4697298" y="173373"/>
                  <a:pt x="4709923" y="173373"/>
                </a:cubicBezTo>
                <a:close/>
                <a:moveTo>
                  <a:pt x="4522978" y="173373"/>
                </a:moveTo>
                <a:cubicBezTo>
                  <a:pt x="4535603" y="173373"/>
                  <a:pt x="4545838" y="183608"/>
                  <a:pt x="4545838" y="196233"/>
                </a:cubicBezTo>
                <a:cubicBezTo>
                  <a:pt x="4545838" y="208858"/>
                  <a:pt x="4535603" y="219093"/>
                  <a:pt x="4522978" y="219093"/>
                </a:cubicBezTo>
                <a:cubicBezTo>
                  <a:pt x="4510353" y="219093"/>
                  <a:pt x="4500118" y="208858"/>
                  <a:pt x="4500118" y="196233"/>
                </a:cubicBezTo>
                <a:cubicBezTo>
                  <a:pt x="4500118" y="183608"/>
                  <a:pt x="4510353" y="173373"/>
                  <a:pt x="4522978" y="173373"/>
                </a:cubicBezTo>
                <a:close/>
                <a:moveTo>
                  <a:pt x="4336033" y="173373"/>
                </a:moveTo>
                <a:cubicBezTo>
                  <a:pt x="4348658" y="173373"/>
                  <a:pt x="4358893" y="183608"/>
                  <a:pt x="4358893" y="196233"/>
                </a:cubicBezTo>
                <a:cubicBezTo>
                  <a:pt x="4358893" y="208858"/>
                  <a:pt x="4348658" y="219093"/>
                  <a:pt x="4336033" y="219093"/>
                </a:cubicBezTo>
                <a:cubicBezTo>
                  <a:pt x="4323408" y="219093"/>
                  <a:pt x="4313173" y="208858"/>
                  <a:pt x="4313173" y="196233"/>
                </a:cubicBezTo>
                <a:cubicBezTo>
                  <a:pt x="4313173" y="183608"/>
                  <a:pt x="4323408" y="173373"/>
                  <a:pt x="4336033" y="173373"/>
                </a:cubicBezTo>
                <a:close/>
                <a:moveTo>
                  <a:pt x="4132393" y="173373"/>
                </a:moveTo>
                <a:cubicBezTo>
                  <a:pt x="4145018" y="173373"/>
                  <a:pt x="4155253" y="183608"/>
                  <a:pt x="4155253" y="196233"/>
                </a:cubicBezTo>
                <a:cubicBezTo>
                  <a:pt x="4155253" y="208858"/>
                  <a:pt x="4145018" y="219093"/>
                  <a:pt x="4132393" y="219093"/>
                </a:cubicBezTo>
                <a:cubicBezTo>
                  <a:pt x="4119768" y="219093"/>
                  <a:pt x="4109533" y="208858"/>
                  <a:pt x="4109533" y="196233"/>
                </a:cubicBezTo>
                <a:cubicBezTo>
                  <a:pt x="4109533" y="183608"/>
                  <a:pt x="4119768" y="173373"/>
                  <a:pt x="4132393" y="173373"/>
                </a:cubicBezTo>
                <a:close/>
                <a:moveTo>
                  <a:pt x="3945439" y="173373"/>
                </a:moveTo>
                <a:cubicBezTo>
                  <a:pt x="3958064" y="173373"/>
                  <a:pt x="3968299" y="183608"/>
                  <a:pt x="3968299" y="196233"/>
                </a:cubicBezTo>
                <a:cubicBezTo>
                  <a:pt x="3968299" y="208858"/>
                  <a:pt x="3958064" y="219093"/>
                  <a:pt x="3945439" y="219093"/>
                </a:cubicBezTo>
                <a:cubicBezTo>
                  <a:pt x="3932814" y="219093"/>
                  <a:pt x="3922579" y="208858"/>
                  <a:pt x="3922579" y="196233"/>
                </a:cubicBezTo>
                <a:cubicBezTo>
                  <a:pt x="3922579" y="183608"/>
                  <a:pt x="3932814" y="173373"/>
                  <a:pt x="3945439" y="173373"/>
                </a:cubicBezTo>
                <a:close/>
                <a:moveTo>
                  <a:pt x="3758494" y="173373"/>
                </a:moveTo>
                <a:cubicBezTo>
                  <a:pt x="3771119" y="173373"/>
                  <a:pt x="3781354" y="183608"/>
                  <a:pt x="3781354" y="196233"/>
                </a:cubicBezTo>
                <a:cubicBezTo>
                  <a:pt x="3781354" y="208858"/>
                  <a:pt x="3771119" y="219093"/>
                  <a:pt x="3758494" y="219093"/>
                </a:cubicBezTo>
                <a:cubicBezTo>
                  <a:pt x="3745869" y="219093"/>
                  <a:pt x="3735634" y="208858"/>
                  <a:pt x="3735634" y="196233"/>
                </a:cubicBezTo>
                <a:cubicBezTo>
                  <a:pt x="3735634" y="183608"/>
                  <a:pt x="3745869" y="173373"/>
                  <a:pt x="3758494" y="173373"/>
                </a:cubicBezTo>
                <a:close/>
                <a:moveTo>
                  <a:pt x="3571549" y="173373"/>
                </a:moveTo>
                <a:cubicBezTo>
                  <a:pt x="3584174" y="173373"/>
                  <a:pt x="3594409" y="183608"/>
                  <a:pt x="3594409" y="196233"/>
                </a:cubicBezTo>
                <a:cubicBezTo>
                  <a:pt x="3594409" y="208858"/>
                  <a:pt x="3584174" y="219093"/>
                  <a:pt x="3571549" y="219093"/>
                </a:cubicBezTo>
                <a:cubicBezTo>
                  <a:pt x="3558924" y="219093"/>
                  <a:pt x="3548689" y="208858"/>
                  <a:pt x="3548689" y="196233"/>
                </a:cubicBezTo>
                <a:cubicBezTo>
                  <a:pt x="3548689" y="183608"/>
                  <a:pt x="3558924" y="173373"/>
                  <a:pt x="3571549" y="173373"/>
                </a:cubicBezTo>
                <a:close/>
                <a:moveTo>
                  <a:pt x="3384604" y="173373"/>
                </a:moveTo>
                <a:cubicBezTo>
                  <a:pt x="3397229" y="173373"/>
                  <a:pt x="3407464" y="183608"/>
                  <a:pt x="3407464" y="196233"/>
                </a:cubicBezTo>
                <a:cubicBezTo>
                  <a:pt x="3407464" y="208858"/>
                  <a:pt x="3397229" y="219093"/>
                  <a:pt x="3384604" y="219093"/>
                </a:cubicBezTo>
                <a:cubicBezTo>
                  <a:pt x="3371979" y="219093"/>
                  <a:pt x="3361744" y="208858"/>
                  <a:pt x="3361744" y="196233"/>
                </a:cubicBezTo>
                <a:cubicBezTo>
                  <a:pt x="3361744" y="183608"/>
                  <a:pt x="3371979" y="173373"/>
                  <a:pt x="3384604" y="173373"/>
                </a:cubicBezTo>
                <a:close/>
                <a:moveTo>
                  <a:pt x="3197659" y="173373"/>
                </a:moveTo>
                <a:cubicBezTo>
                  <a:pt x="3210284" y="173373"/>
                  <a:pt x="3220519" y="183608"/>
                  <a:pt x="3220519" y="196233"/>
                </a:cubicBezTo>
                <a:cubicBezTo>
                  <a:pt x="3220519" y="208858"/>
                  <a:pt x="3210284" y="219093"/>
                  <a:pt x="3197659" y="219093"/>
                </a:cubicBezTo>
                <a:cubicBezTo>
                  <a:pt x="3185034" y="219093"/>
                  <a:pt x="3174799" y="208858"/>
                  <a:pt x="3174799" y="196233"/>
                </a:cubicBezTo>
                <a:cubicBezTo>
                  <a:pt x="3174799" y="183608"/>
                  <a:pt x="3185034" y="173373"/>
                  <a:pt x="3197659" y="173373"/>
                </a:cubicBezTo>
                <a:close/>
                <a:moveTo>
                  <a:pt x="3010714" y="173373"/>
                </a:moveTo>
                <a:cubicBezTo>
                  <a:pt x="3023339" y="173373"/>
                  <a:pt x="3033574" y="183608"/>
                  <a:pt x="3033574" y="196233"/>
                </a:cubicBezTo>
                <a:cubicBezTo>
                  <a:pt x="3033574" y="208858"/>
                  <a:pt x="3023339" y="219093"/>
                  <a:pt x="3010714" y="219093"/>
                </a:cubicBezTo>
                <a:cubicBezTo>
                  <a:pt x="2998089" y="219093"/>
                  <a:pt x="2987854" y="208858"/>
                  <a:pt x="2987854" y="196233"/>
                </a:cubicBezTo>
                <a:cubicBezTo>
                  <a:pt x="2987854" y="183608"/>
                  <a:pt x="2998089" y="173373"/>
                  <a:pt x="3010714" y="173373"/>
                </a:cubicBezTo>
                <a:close/>
                <a:moveTo>
                  <a:pt x="2823769" y="173373"/>
                </a:moveTo>
                <a:cubicBezTo>
                  <a:pt x="2836394" y="173373"/>
                  <a:pt x="2846629" y="183608"/>
                  <a:pt x="2846629" y="196233"/>
                </a:cubicBezTo>
                <a:cubicBezTo>
                  <a:pt x="2846629" y="208858"/>
                  <a:pt x="2836394" y="219093"/>
                  <a:pt x="2823769" y="219093"/>
                </a:cubicBezTo>
                <a:cubicBezTo>
                  <a:pt x="2811144" y="219093"/>
                  <a:pt x="2800909" y="208858"/>
                  <a:pt x="2800909" y="196233"/>
                </a:cubicBezTo>
                <a:cubicBezTo>
                  <a:pt x="2800909" y="183608"/>
                  <a:pt x="2811144" y="173373"/>
                  <a:pt x="2823769" y="173373"/>
                </a:cubicBezTo>
                <a:close/>
                <a:moveTo>
                  <a:pt x="2636824" y="173373"/>
                </a:moveTo>
                <a:cubicBezTo>
                  <a:pt x="2649449" y="173373"/>
                  <a:pt x="2659684" y="183608"/>
                  <a:pt x="2659684" y="196233"/>
                </a:cubicBezTo>
                <a:cubicBezTo>
                  <a:pt x="2659684" y="208858"/>
                  <a:pt x="2649449" y="219093"/>
                  <a:pt x="2636824" y="219093"/>
                </a:cubicBezTo>
                <a:cubicBezTo>
                  <a:pt x="2624199" y="219093"/>
                  <a:pt x="2613964" y="208858"/>
                  <a:pt x="2613964" y="196233"/>
                </a:cubicBezTo>
                <a:cubicBezTo>
                  <a:pt x="2613964" y="183608"/>
                  <a:pt x="2624199" y="173373"/>
                  <a:pt x="2636824" y="173373"/>
                </a:cubicBezTo>
                <a:close/>
                <a:moveTo>
                  <a:pt x="2449879" y="173373"/>
                </a:moveTo>
                <a:cubicBezTo>
                  <a:pt x="2462504" y="173373"/>
                  <a:pt x="2472739" y="183608"/>
                  <a:pt x="2472739" y="196233"/>
                </a:cubicBezTo>
                <a:cubicBezTo>
                  <a:pt x="2472739" y="208858"/>
                  <a:pt x="2462504" y="219093"/>
                  <a:pt x="2449879" y="219093"/>
                </a:cubicBezTo>
                <a:cubicBezTo>
                  <a:pt x="2437254" y="219093"/>
                  <a:pt x="2427019" y="208858"/>
                  <a:pt x="2427019" y="196233"/>
                </a:cubicBezTo>
                <a:cubicBezTo>
                  <a:pt x="2427019" y="183608"/>
                  <a:pt x="2437254" y="173373"/>
                  <a:pt x="2449879" y="173373"/>
                </a:cubicBezTo>
                <a:close/>
                <a:moveTo>
                  <a:pt x="2262934" y="173373"/>
                </a:moveTo>
                <a:cubicBezTo>
                  <a:pt x="2275559" y="173373"/>
                  <a:pt x="2285794" y="183608"/>
                  <a:pt x="2285794" y="196233"/>
                </a:cubicBezTo>
                <a:cubicBezTo>
                  <a:pt x="2285794" y="208858"/>
                  <a:pt x="2275559" y="219093"/>
                  <a:pt x="2262934" y="219093"/>
                </a:cubicBezTo>
                <a:cubicBezTo>
                  <a:pt x="2250309" y="219093"/>
                  <a:pt x="2240074" y="208858"/>
                  <a:pt x="2240074" y="196233"/>
                </a:cubicBezTo>
                <a:cubicBezTo>
                  <a:pt x="2240074" y="183608"/>
                  <a:pt x="2250309" y="173373"/>
                  <a:pt x="2262934" y="173373"/>
                </a:cubicBezTo>
                <a:close/>
                <a:moveTo>
                  <a:pt x="4116095" y="38700"/>
                </a:moveTo>
                <a:lnTo>
                  <a:pt x="4141536" y="41933"/>
                </a:lnTo>
                <a:lnTo>
                  <a:pt x="4132393" y="45720"/>
                </a:lnTo>
                <a:cubicBezTo>
                  <a:pt x="4126081" y="45720"/>
                  <a:pt x="4120366" y="43162"/>
                  <a:pt x="4116229" y="39025"/>
                </a:cubicBezTo>
                <a:close/>
                <a:moveTo>
                  <a:pt x="2845735" y="25019"/>
                </a:moveTo>
                <a:lnTo>
                  <a:pt x="2839934" y="39025"/>
                </a:lnTo>
                <a:cubicBezTo>
                  <a:pt x="2835797" y="43162"/>
                  <a:pt x="2830082" y="45720"/>
                  <a:pt x="2823769" y="45720"/>
                </a:cubicBezTo>
                <a:cubicBezTo>
                  <a:pt x="2817457" y="45720"/>
                  <a:pt x="2811742" y="43162"/>
                  <a:pt x="2807605" y="39025"/>
                </a:cubicBezTo>
                <a:lnTo>
                  <a:pt x="2804000" y="30322"/>
                </a:lnTo>
                <a:close/>
                <a:moveTo>
                  <a:pt x="3926023" y="14548"/>
                </a:moveTo>
                <a:lnTo>
                  <a:pt x="3967014" y="19757"/>
                </a:lnTo>
                <a:lnTo>
                  <a:pt x="3968299" y="22860"/>
                </a:lnTo>
                <a:cubicBezTo>
                  <a:pt x="3968299" y="35485"/>
                  <a:pt x="3958064" y="45720"/>
                  <a:pt x="3945439" y="45720"/>
                </a:cubicBezTo>
                <a:cubicBezTo>
                  <a:pt x="3932814" y="45720"/>
                  <a:pt x="3922579" y="35485"/>
                  <a:pt x="3922579" y="22860"/>
                </a:cubicBezTo>
                <a:close/>
                <a:moveTo>
                  <a:pt x="3026904" y="6756"/>
                </a:moveTo>
                <a:lnTo>
                  <a:pt x="3033574" y="22860"/>
                </a:lnTo>
                <a:cubicBezTo>
                  <a:pt x="3033574" y="35485"/>
                  <a:pt x="3023339" y="45720"/>
                  <a:pt x="3010714" y="45720"/>
                </a:cubicBezTo>
                <a:cubicBezTo>
                  <a:pt x="2998089" y="45720"/>
                  <a:pt x="2987854" y="35485"/>
                  <a:pt x="2987854" y="22860"/>
                </a:cubicBezTo>
                <a:lnTo>
                  <a:pt x="2993472" y="9298"/>
                </a:lnTo>
                <a:close/>
                <a:moveTo>
                  <a:pt x="3755379" y="1291"/>
                </a:moveTo>
                <a:lnTo>
                  <a:pt x="3763010" y="1871"/>
                </a:lnTo>
                <a:lnTo>
                  <a:pt x="3774659" y="6696"/>
                </a:lnTo>
                <a:cubicBezTo>
                  <a:pt x="3778796" y="10833"/>
                  <a:pt x="3781354" y="16548"/>
                  <a:pt x="3781354" y="22860"/>
                </a:cubicBezTo>
                <a:cubicBezTo>
                  <a:pt x="3781354" y="35485"/>
                  <a:pt x="3771119" y="45720"/>
                  <a:pt x="3758494" y="45720"/>
                </a:cubicBezTo>
                <a:cubicBezTo>
                  <a:pt x="3745869" y="45720"/>
                  <a:pt x="3735634" y="35485"/>
                  <a:pt x="3735634" y="22860"/>
                </a:cubicBezTo>
                <a:cubicBezTo>
                  <a:pt x="3735634" y="16548"/>
                  <a:pt x="3738193" y="10833"/>
                  <a:pt x="3742330" y="6696"/>
                </a:cubicBezTo>
                <a:close/>
                <a:moveTo>
                  <a:pt x="3571549" y="0"/>
                </a:moveTo>
                <a:cubicBezTo>
                  <a:pt x="3584174" y="0"/>
                  <a:pt x="3594409" y="10235"/>
                  <a:pt x="3594409" y="22860"/>
                </a:cubicBezTo>
                <a:cubicBezTo>
                  <a:pt x="3594409" y="35485"/>
                  <a:pt x="3584174" y="45720"/>
                  <a:pt x="3571549" y="45720"/>
                </a:cubicBezTo>
                <a:cubicBezTo>
                  <a:pt x="3558924" y="45720"/>
                  <a:pt x="3548689" y="35485"/>
                  <a:pt x="3548689" y="22860"/>
                </a:cubicBezTo>
                <a:cubicBezTo>
                  <a:pt x="3548689" y="10235"/>
                  <a:pt x="3558924" y="0"/>
                  <a:pt x="3571549" y="0"/>
                </a:cubicBezTo>
                <a:close/>
                <a:moveTo>
                  <a:pt x="3384604" y="0"/>
                </a:moveTo>
                <a:cubicBezTo>
                  <a:pt x="3397229" y="0"/>
                  <a:pt x="3407464" y="10235"/>
                  <a:pt x="3407464" y="22860"/>
                </a:cubicBezTo>
                <a:cubicBezTo>
                  <a:pt x="3407464" y="35485"/>
                  <a:pt x="3397229" y="45720"/>
                  <a:pt x="3384604" y="45720"/>
                </a:cubicBezTo>
                <a:cubicBezTo>
                  <a:pt x="3371979" y="45720"/>
                  <a:pt x="3361744" y="35485"/>
                  <a:pt x="3361744" y="22860"/>
                </a:cubicBezTo>
                <a:cubicBezTo>
                  <a:pt x="3361744" y="10235"/>
                  <a:pt x="3371979" y="0"/>
                  <a:pt x="3384604" y="0"/>
                </a:cubicBezTo>
                <a:close/>
                <a:moveTo>
                  <a:pt x="3197659" y="0"/>
                </a:moveTo>
                <a:cubicBezTo>
                  <a:pt x="3210284" y="0"/>
                  <a:pt x="3220519" y="10235"/>
                  <a:pt x="3220519" y="22860"/>
                </a:cubicBezTo>
                <a:cubicBezTo>
                  <a:pt x="3220519" y="35485"/>
                  <a:pt x="3210284" y="45720"/>
                  <a:pt x="3197659" y="45720"/>
                </a:cubicBezTo>
                <a:cubicBezTo>
                  <a:pt x="3185034" y="45720"/>
                  <a:pt x="3174799" y="35485"/>
                  <a:pt x="3174799" y="22860"/>
                </a:cubicBezTo>
                <a:cubicBezTo>
                  <a:pt x="3174799" y="10235"/>
                  <a:pt x="3185034" y="0"/>
                  <a:pt x="3197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38000"/>
                </a:scheme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54A5C97-E552-4794-BE43-EBC6F099D2D4}"/>
              </a:ext>
            </a:extLst>
          </p:cNvPr>
          <p:cNvSpPr/>
          <p:nvPr/>
        </p:nvSpPr>
        <p:spPr>
          <a:xfrm flipV="1">
            <a:off x="5170572" y="0"/>
            <a:ext cx="1850857" cy="331204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1" name="TextBox 10"/>
          <p:cNvSpPr txBox="1"/>
          <p:nvPr/>
        </p:nvSpPr>
        <p:spPr>
          <a:xfrm>
            <a:off x="3669460" y="2601363"/>
            <a:ext cx="45754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2. </a:t>
            </a:r>
            <a:r>
              <a:rPr lang="ko-KR" altLang="en-US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사용 </a:t>
            </a:r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HW</a:t>
            </a:r>
            <a:endParaRPr lang="ko-KR" altLang="en-US" sz="54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976233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-21266" y="-10633"/>
            <a:ext cx="12291237" cy="70281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493053" y="344104"/>
            <a:ext cx="11201400" cy="77787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40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2. </a:t>
            </a:r>
            <a:r>
              <a:rPr lang="ko-KR" altLang="en-US" sz="40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사용 </a:t>
            </a:r>
            <a:r>
              <a:rPr lang="en-US" altLang="ko-KR" sz="40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HW</a:t>
            </a:r>
            <a:endParaRPr lang="en-US" sz="40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775" y="1673504"/>
            <a:ext cx="2838561" cy="4381932"/>
          </a:xfrm>
          <a:prstGeom prst="rect">
            <a:avLst/>
          </a:prstGeom>
        </p:spPr>
      </p:pic>
      <p:sp>
        <p:nvSpPr>
          <p:cNvPr id="3" name="양쪽 모서리가 잘린 사각형 2"/>
          <p:cNvSpPr/>
          <p:nvPr/>
        </p:nvSpPr>
        <p:spPr>
          <a:xfrm rot="16200000">
            <a:off x="4875795" y="-348460"/>
            <a:ext cx="5724716" cy="9063639"/>
          </a:xfrm>
          <a:prstGeom prst="snip2SameRect">
            <a:avLst>
              <a:gd name="adj1" fmla="val 43472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6433935" y="1593383"/>
            <a:ext cx="1114672" cy="1062618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5"/>
          <a:srcRect l="8024" r="16189"/>
          <a:stretch/>
        </p:blipFill>
        <p:spPr>
          <a:xfrm>
            <a:off x="6371237" y="2880825"/>
            <a:ext cx="955277" cy="1347501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4894" y="4374362"/>
            <a:ext cx="1573710" cy="1018282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1237" y="5612894"/>
            <a:ext cx="1257370" cy="1099910"/>
          </a:xfrm>
          <a:prstGeom prst="rect">
            <a:avLst/>
          </a:prstGeom>
        </p:spPr>
      </p:pic>
      <p:pic>
        <p:nvPicPr>
          <p:cNvPr id="17" name="그림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85825" y="1577035"/>
            <a:ext cx="1509566" cy="938067"/>
          </a:xfrm>
          <a:prstGeom prst="rect">
            <a:avLst/>
          </a:prstGeom>
        </p:spPr>
      </p:pic>
      <p:pic>
        <p:nvPicPr>
          <p:cNvPr id="20" name="그림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13356" y="2731694"/>
            <a:ext cx="1654504" cy="1403495"/>
          </a:xfrm>
          <a:prstGeom prst="rect">
            <a:avLst/>
          </a:prstGeom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54831" y="5449092"/>
            <a:ext cx="1061482" cy="1047592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11"/>
          <a:srcRect l="2853"/>
          <a:stretch/>
        </p:blipFill>
        <p:spPr>
          <a:xfrm>
            <a:off x="3732688" y="3232271"/>
            <a:ext cx="1682455" cy="1462772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276874" y="4433863"/>
            <a:ext cx="1315621" cy="1423165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83437" y="4167438"/>
            <a:ext cx="1204271" cy="920685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789242" y="3102736"/>
            <a:ext cx="330217" cy="1073205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39164" y="1610792"/>
            <a:ext cx="1148644" cy="1091212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3932749" y="4691962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아두이노</a:t>
            </a:r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우노</a:t>
            </a:r>
            <a:endParaRPr lang="ko-KR" altLang="en-US" sz="14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603809" y="2749518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조도 센서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259687" y="4255405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슬라이드 스위치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527154" y="5401585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LCD </a:t>
            </a:r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패널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27879" y="6557369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택트</a:t>
            </a:r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스위치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222449" y="2502112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피에조</a:t>
            </a:r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부저</a:t>
            </a:r>
            <a:endParaRPr lang="ko-KR" altLang="en-US" sz="14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324423" y="4019349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초음파 센서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547380" y="5282808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악어클립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436058" y="6498783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할로겐 전구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0632425" y="2764186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점퍼선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0472702" y="4087379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트랜지스터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0457163" y="5792391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브레드보드</a:t>
            </a:r>
            <a:endParaRPr lang="ko-KR" altLang="en-US" sz="14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 rotWithShape="1">
          <a:blip r:embed="rId16"/>
          <a:srcRect t="20910"/>
          <a:stretch/>
        </p:blipFill>
        <p:spPr>
          <a:xfrm>
            <a:off x="10290894" y="6055436"/>
            <a:ext cx="1398973" cy="569888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0742651" y="6539533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저항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385322" y="6127352"/>
            <a:ext cx="4162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 </a:t>
            </a:r>
            <a:r>
              <a:rPr lang="ko-KR" altLang="en-US" dirty="0" err="1">
                <a:solidFill>
                  <a:schemeClr val="bg1"/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워머</a:t>
            </a:r>
            <a:endParaRPr lang="ko-KR" altLang="en-US" dirty="0">
              <a:solidFill>
                <a:schemeClr val="bg1"/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82665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around a table in a room&#10;&#10;Description automatically generated with low confidence">
            <a:extLst>
              <a:ext uri="{FF2B5EF4-FFF2-40B4-BE49-F238E27FC236}">
                <a16:creationId xmlns:a16="http://schemas.microsoft.com/office/drawing/2014/main" id="{D89096B3-4815-4AFA-A3AE-033BB572A3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3CEF248A-EE26-4B23-87C7-1A0D621217F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170572 w 12192000"/>
              <a:gd name="connsiteY1" fmla="*/ 0 h 6858000"/>
              <a:gd name="connsiteX2" fmla="*/ 5280275 w 12192000"/>
              <a:gd name="connsiteY2" fmla="*/ 82034 h 6858000"/>
              <a:gd name="connsiteX3" fmla="*/ 6096001 w 12192000"/>
              <a:gd name="connsiteY3" fmla="*/ 331204 h 6858000"/>
              <a:gd name="connsiteX4" fmla="*/ 6911727 w 12192000"/>
              <a:gd name="connsiteY4" fmla="*/ 82034 h 6858000"/>
              <a:gd name="connsiteX5" fmla="*/ 7021429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8899357 w 12192000"/>
              <a:gd name="connsiteY8" fmla="*/ 6858000 h 6858000"/>
              <a:gd name="connsiteX9" fmla="*/ 8567040 w 12192000"/>
              <a:gd name="connsiteY9" fmla="*/ 6609498 h 6858000"/>
              <a:gd name="connsiteX10" fmla="*/ 6096000 w 12192000"/>
              <a:gd name="connsiteY10" fmla="*/ 5854699 h 6858000"/>
              <a:gd name="connsiteX11" fmla="*/ 3624960 w 12192000"/>
              <a:gd name="connsiteY11" fmla="*/ 6609498 h 6858000"/>
              <a:gd name="connsiteX12" fmla="*/ 329264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170572" y="0"/>
                </a:lnTo>
                <a:lnTo>
                  <a:pt x="5280275" y="82034"/>
                </a:lnTo>
                <a:cubicBezTo>
                  <a:pt x="5513129" y="239347"/>
                  <a:pt x="5793837" y="331204"/>
                  <a:pt x="6096001" y="331204"/>
                </a:cubicBezTo>
                <a:cubicBezTo>
                  <a:pt x="6398164" y="331204"/>
                  <a:pt x="6678873" y="239347"/>
                  <a:pt x="6911727" y="82034"/>
                </a:cubicBezTo>
                <a:lnTo>
                  <a:pt x="7021429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899357" y="6858000"/>
                </a:lnTo>
                <a:lnTo>
                  <a:pt x="8567040" y="6609498"/>
                </a:lnTo>
                <a:cubicBezTo>
                  <a:pt x="7861668" y="6132957"/>
                  <a:pt x="7011330" y="5854699"/>
                  <a:pt x="6096000" y="5854699"/>
                </a:cubicBezTo>
                <a:cubicBezTo>
                  <a:pt x="5180671" y="5854699"/>
                  <a:pt x="4330333" y="6132957"/>
                  <a:pt x="3624960" y="6609498"/>
                </a:cubicBezTo>
                <a:lnTo>
                  <a:pt x="329264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A940CA9-CB4C-40FD-B152-FD57C62AD5C4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9DC0690-E35F-4DA1-90C1-A93EB1164846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4" name="Partial Circle 13">
            <a:extLst>
              <a:ext uri="{FF2B5EF4-FFF2-40B4-BE49-F238E27FC236}">
                <a16:creationId xmlns:a16="http://schemas.microsoft.com/office/drawing/2014/main" id="{45540C33-6867-4B5D-AEA8-63A574A0011A}"/>
              </a:ext>
            </a:extLst>
          </p:cNvPr>
          <p:cNvSpPr/>
          <p:nvPr/>
        </p:nvSpPr>
        <p:spPr>
          <a:xfrm>
            <a:off x="1964665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Partial Circle 13">
            <a:extLst>
              <a:ext uri="{FF2B5EF4-FFF2-40B4-BE49-F238E27FC236}">
                <a16:creationId xmlns:a16="http://schemas.microsoft.com/office/drawing/2014/main" id="{56D789CF-8891-4CE4-9AA6-D14A1F2B513F}"/>
              </a:ext>
            </a:extLst>
          </p:cNvPr>
          <p:cNvSpPr/>
          <p:nvPr/>
        </p:nvSpPr>
        <p:spPr>
          <a:xfrm flipH="1">
            <a:off x="7733734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FD24EAB-579C-4F58-A41C-D7538CE58088}"/>
              </a:ext>
            </a:extLst>
          </p:cNvPr>
          <p:cNvSpPr/>
          <p:nvPr/>
        </p:nvSpPr>
        <p:spPr>
          <a:xfrm>
            <a:off x="2668922" y="5398411"/>
            <a:ext cx="6789178" cy="1432704"/>
          </a:xfrm>
          <a:custGeom>
            <a:avLst/>
            <a:gdLst>
              <a:gd name="connsiteX0" fmla="*/ 27397 w 6789178"/>
              <a:gd name="connsiteY0" fmla="*/ 1390216 h 1432704"/>
              <a:gd name="connsiteX1" fmla="*/ 35759 w 6789178"/>
              <a:gd name="connsiteY1" fmla="*/ 1393680 h 1432704"/>
              <a:gd name="connsiteX2" fmla="*/ 42454 w 6789178"/>
              <a:gd name="connsiteY2" fmla="*/ 1409844 h 1432704"/>
              <a:gd name="connsiteX3" fmla="*/ 19594 w 6789178"/>
              <a:gd name="connsiteY3" fmla="*/ 1432704 h 1432704"/>
              <a:gd name="connsiteX4" fmla="*/ 3430 w 6789178"/>
              <a:gd name="connsiteY4" fmla="*/ 1426009 h 1432704"/>
              <a:gd name="connsiteX5" fmla="*/ 0 w 6789178"/>
              <a:gd name="connsiteY5" fmla="*/ 1417729 h 1432704"/>
              <a:gd name="connsiteX6" fmla="*/ 14582 w 6789178"/>
              <a:gd name="connsiteY6" fmla="*/ 1402434 h 1432704"/>
              <a:gd name="connsiteX7" fmla="*/ 6766318 w 6789178"/>
              <a:gd name="connsiteY7" fmla="*/ 1386984 h 1432704"/>
              <a:gd name="connsiteX8" fmla="*/ 6789178 w 6789178"/>
              <a:gd name="connsiteY8" fmla="*/ 1409844 h 1432704"/>
              <a:gd name="connsiteX9" fmla="*/ 6766318 w 6789178"/>
              <a:gd name="connsiteY9" fmla="*/ 1432704 h 1432704"/>
              <a:gd name="connsiteX10" fmla="*/ 6743458 w 6789178"/>
              <a:gd name="connsiteY10" fmla="*/ 1409844 h 1432704"/>
              <a:gd name="connsiteX11" fmla="*/ 6766318 w 6789178"/>
              <a:gd name="connsiteY11" fmla="*/ 1386984 h 1432704"/>
              <a:gd name="connsiteX12" fmla="*/ 6579373 w 6789178"/>
              <a:gd name="connsiteY12" fmla="*/ 1386984 h 1432704"/>
              <a:gd name="connsiteX13" fmla="*/ 6602233 w 6789178"/>
              <a:gd name="connsiteY13" fmla="*/ 1409844 h 1432704"/>
              <a:gd name="connsiteX14" fmla="*/ 6579373 w 6789178"/>
              <a:gd name="connsiteY14" fmla="*/ 1432704 h 1432704"/>
              <a:gd name="connsiteX15" fmla="*/ 6556513 w 6789178"/>
              <a:gd name="connsiteY15" fmla="*/ 1409844 h 1432704"/>
              <a:gd name="connsiteX16" fmla="*/ 6579373 w 6789178"/>
              <a:gd name="connsiteY16" fmla="*/ 1386984 h 1432704"/>
              <a:gd name="connsiteX17" fmla="*/ 6392428 w 6789178"/>
              <a:gd name="connsiteY17" fmla="*/ 1386984 h 1432704"/>
              <a:gd name="connsiteX18" fmla="*/ 6415288 w 6789178"/>
              <a:gd name="connsiteY18" fmla="*/ 1409844 h 1432704"/>
              <a:gd name="connsiteX19" fmla="*/ 6392428 w 6789178"/>
              <a:gd name="connsiteY19" fmla="*/ 1432704 h 1432704"/>
              <a:gd name="connsiteX20" fmla="*/ 6369568 w 6789178"/>
              <a:gd name="connsiteY20" fmla="*/ 1409844 h 1432704"/>
              <a:gd name="connsiteX21" fmla="*/ 6392428 w 6789178"/>
              <a:gd name="connsiteY21" fmla="*/ 1386984 h 1432704"/>
              <a:gd name="connsiteX22" fmla="*/ 6205483 w 6789178"/>
              <a:gd name="connsiteY22" fmla="*/ 1386984 h 1432704"/>
              <a:gd name="connsiteX23" fmla="*/ 6228343 w 6789178"/>
              <a:gd name="connsiteY23" fmla="*/ 1409844 h 1432704"/>
              <a:gd name="connsiteX24" fmla="*/ 6205483 w 6789178"/>
              <a:gd name="connsiteY24" fmla="*/ 1432704 h 1432704"/>
              <a:gd name="connsiteX25" fmla="*/ 6182623 w 6789178"/>
              <a:gd name="connsiteY25" fmla="*/ 1409844 h 1432704"/>
              <a:gd name="connsiteX26" fmla="*/ 6205483 w 6789178"/>
              <a:gd name="connsiteY26" fmla="*/ 1386984 h 1432704"/>
              <a:gd name="connsiteX27" fmla="*/ 580429 w 6789178"/>
              <a:gd name="connsiteY27" fmla="*/ 1386984 h 1432704"/>
              <a:gd name="connsiteX28" fmla="*/ 603289 w 6789178"/>
              <a:gd name="connsiteY28" fmla="*/ 1409844 h 1432704"/>
              <a:gd name="connsiteX29" fmla="*/ 580429 w 6789178"/>
              <a:gd name="connsiteY29" fmla="*/ 1432704 h 1432704"/>
              <a:gd name="connsiteX30" fmla="*/ 557569 w 6789178"/>
              <a:gd name="connsiteY30" fmla="*/ 1409844 h 1432704"/>
              <a:gd name="connsiteX31" fmla="*/ 580429 w 6789178"/>
              <a:gd name="connsiteY31" fmla="*/ 1386984 h 1432704"/>
              <a:gd name="connsiteX32" fmla="*/ 393484 w 6789178"/>
              <a:gd name="connsiteY32" fmla="*/ 1386984 h 1432704"/>
              <a:gd name="connsiteX33" fmla="*/ 416344 w 6789178"/>
              <a:gd name="connsiteY33" fmla="*/ 1409844 h 1432704"/>
              <a:gd name="connsiteX34" fmla="*/ 393484 w 6789178"/>
              <a:gd name="connsiteY34" fmla="*/ 1432704 h 1432704"/>
              <a:gd name="connsiteX35" fmla="*/ 370624 w 6789178"/>
              <a:gd name="connsiteY35" fmla="*/ 1409844 h 1432704"/>
              <a:gd name="connsiteX36" fmla="*/ 393484 w 6789178"/>
              <a:gd name="connsiteY36" fmla="*/ 1386984 h 1432704"/>
              <a:gd name="connsiteX37" fmla="*/ 206539 w 6789178"/>
              <a:gd name="connsiteY37" fmla="*/ 1386984 h 1432704"/>
              <a:gd name="connsiteX38" fmla="*/ 229399 w 6789178"/>
              <a:gd name="connsiteY38" fmla="*/ 1409844 h 1432704"/>
              <a:gd name="connsiteX39" fmla="*/ 206539 w 6789178"/>
              <a:gd name="connsiteY39" fmla="*/ 1432704 h 1432704"/>
              <a:gd name="connsiteX40" fmla="*/ 183679 w 6789178"/>
              <a:gd name="connsiteY40" fmla="*/ 1409844 h 1432704"/>
              <a:gd name="connsiteX41" fmla="*/ 206539 w 6789178"/>
              <a:gd name="connsiteY41" fmla="*/ 1386984 h 1432704"/>
              <a:gd name="connsiteX42" fmla="*/ 212734 w 6789178"/>
              <a:gd name="connsiteY42" fmla="*/ 1216177 h 1432704"/>
              <a:gd name="connsiteX43" fmla="*/ 222704 w 6789178"/>
              <a:gd name="connsiteY43" fmla="*/ 1220307 h 1432704"/>
              <a:gd name="connsiteX44" fmla="*/ 229399 w 6789178"/>
              <a:gd name="connsiteY44" fmla="*/ 1236471 h 1432704"/>
              <a:gd name="connsiteX45" fmla="*/ 206539 w 6789178"/>
              <a:gd name="connsiteY45" fmla="*/ 1259331 h 1432704"/>
              <a:gd name="connsiteX46" fmla="*/ 190375 w 6789178"/>
              <a:gd name="connsiteY46" fmla="*/ 1252636 h 1432704"/>
              <a:gd name="connsiteX47" fmla="*/ 185165 w 6789178"/>
              <a:gd name="connsiteY47" fmla="*/ 1240059 h 1432704"/>
              <a:gd name="connsiteX48" fmla="*/ 950606 w 6789178"/>
              <a:gd name="connsiteY48" fmla="*/ 1215149 h 1432704"/>
              <a:gd name="connsiteX49" fmla="*/ 935662 w 6789178"/>
              <a:gd name="connsiteY49" fmla="*/ 1226324 h 1432704"/>
              <a:gd name="connsiteX50" fmla="*/ 938155 w 6789178"/>
              <a:gd name="connsiteY50" fmla="*/ 1220307 h 1432704"/>
              <a:gd name="connsiteX51" fmla="*/ 6579373 w 6789178"/>
              <a:gd name="connsiteY51" fmla="*/ 1213611 h 1432704"/>
              <a:gd name="connsiteX52" fmla="*/ 6602233 w 6789178"/>
              <a:gd name="connsiteY52" fmla="*/ 1236471 h 1432704"/>
              <a:gd name="connsiteX53" fmla="*/ 6579373 w 6789178"/>
              <a:gd name="connsiteY53" fmla="*/ 1259331 h 1432704"/>
              <a:gd name="connsiteX54" fmla="*/ 6556513 w 6789178"/>
              <a:gd name="connsiteY54" fmla="*/ 1236471 h 1432704"/>
              <a:gd name="connsiteX55" fmla="*/ 6579373 w 6789178"/>
              <a:gd name="connsiteY55" fmla="*/ 1213611 h 1432704"/>
              <a:gd name="connsiteX56" fmla="*/ 6392428 w 6789178"/>
              <a:gd name="connsiteY56" fmla="*/ 1213611 h 1432704"/>
              <a:gd name="connsiteX57" fmla="*/ 6415288 w 6789178"/>
              <a:gd name="connsiteY57" fmla="*/ 1236471 h 1432704"/>
              <a:gd name="connsiteX58" fmla="*/ 6392428 w 6789178"/>
              <a:gd name="connsiteY58" fmla="*/ 1259331 h 1432704"/>
              <a:gd name="connsiteX59" fmla="*/ 6369568 w 6789178"/>
              <a:gd name="connsiteY59" fmla="*/ 1236471 h 1432704"/>
              <a:gd name="connsiteX60" fmla="*/ 6392428 w 6789178"/>
              <a:gd name="connsiteY60" fmla="*/ 1213611 h 1432704"/>
              <a:gd name="connsiteX61" fmla="*/ 6205483 w 6789178"/>
              <a:gd name="connsiteY61" fmla="*/ 1213611 h 1432704"/>
              <a:gd name="connsiteX62" fmla="*/ 6228343 w 6789178"/>
              <a:gd name="connsiteY62" fmla="*/ 1236471 h 1432704"/>
              <a:gd name="connsiteX63" fmla="*/ 6205483 w 6789178"/>
              <a:gd name="connsiteY63" fmla="*/ 1259331 h 1432704"/>
              <a:gd name="connsiteX64" fmla="*/ 6182623 w 6789178"/>
              <a:gd name="connsiteY64" fmla="*/ 1236471 h 1432704"/>
              <a:gd name="connsiteX65" fmla="*/ 6205483 w 6789178"/>
              <a:gd name="connsiteY65" fmla="*/ 1213611 h 1432704"/>
              <a:gd name="connsiteX66" fmla="*/ 6018538 w 6789178"/>
              <a:gd name="connsiteY66" fmla="*/ 1213611 h 1432704"/>
              <a:gd name="connsiteX67" fmla="*/ 6041398 w 6789178"/>
              <a:gd name="connsiteY67" fmla="*/ 1236471 h 1432704"/>
              <a:gd name="connsiteX68" fmla="*/ 6018538 w 6789178"/>
              <a:gd name="connsiteY68" fmla="*/ 1259331 h 1432704"/>
              <a:gd name="connsiteX69" fmla="*/ 5995678 w 6789178"/>
              <a:gd name="connsiteY69" fmla="*/ 1236471 h 1432704"/>
              <a:gd name="connsiteX70" fmla="*/ 6018538 w 6789178"/>
              <a:gd name="connsiteY70" fmla="*/ 1213611 h 1432704"/>
              <a:gd name="connsiteX71" fmla="*/ 767374 w 6789178"/>
              <a:gd name="connsiteY71" fmla="*/ 1213611 h 1432704"/>
              <a:gd name="connsiteX72" fmla="*/ 790234 w 6789178"/>
              <a:gd name="connsiteY72" fmla="*/ 1236471 h 1432704"/>
              <a:gd name="connsiteX73" fmla="*/ 767374 w 6789178"/>
              <a:gd name="connsiteY73" fmla="*/ 1259331 h 1432704"/>
              <a:gd name="connsiteX74" fmla="*/ 744514 w 6789178"/>
              <a:gd name="connsiteY74" fmla="*/ 1236471 h 1432704"/>
              <a:gd name="connsiteX75" fmla="*/ 767374 w 6789178"/>
              <a:gd name="connsiteY75" fmla="*/ 1213611 h 1432704"/>
              <a:gd name="connsiteX76" fmla="*/ 580429 w 6789178"/>
              <a:gd name="connsiteY76" fmla="*/ 1213611 h 1432704"/>
              <a:gd name="connsiteX77" fmla="*/ 603289 w 6789178"/>
              <a:gd name="connsiteY77" fmla="*/ 1236471 h 1432704"/>
              <a:gd name="connsiteX78" fmla="*/ 580429 w 6789178"/>
              <a:gd name="connsiteY78" fmla="*/ 1259331 h 1432704"/>
              <a:gd name="connsiteX79" fmla="*/ 557569 w 6789178"/>
              <a:gd name="connsiteY79" fmla="*/ 1236471 h 1432704"/>
              <a:gd name="connsiteX80" fmla="*/ 580429 w 6789178"/>
              <a:gd name="connsiteY80" fmla="*/ 1213611 h 1432704"/>
              <a:gd name="connsiteX81" fmla="*/ 393484 w 6789178"/>
              <a:gd name="connsiteY81" fmla="*/ 1213611 h 1432704"/>
              <a:gd name="connsiteX82" fmla="*/ 416344 w 6789178"/>
              <a:gd name="connsiteY82" fmla="*/ 1236471 h 1432704"/>
              <a:gd name="connsiteX83" fmla="*/ 393484 w 6789178"/>
              <a:gd name="connsiteY83" fmla="*/ 1259331 h 1432704"/>
              <a:gd name="connsiteX84" fmla="*/ 370624 w 6789178"/>
              <a:gd name="connsiteY84" fmla="*/ 1236471 h 1432704"/>
              <a:gd name="connsiteX85" fmla="*/ 393484 w 6789178"/>
              <a:gd name="connsiteY85" fmla="*/ 1213611 h 1432704"/>
              <a:gd name="connsiteX86" fmla="*/ 410549 w 6789178"/>
              <a:gd name="connsiteY86" fmla="*/ 1049107 h 1432704"/>
              <a:gd name="connsiteX87" fmla="*/ 416344 w 6789178"/>
              <a:gd name="connsiteY87" fmla="*/ 1063098 h 1432704"/>
              <a:gd name="connsiteX88" fmla="*/ 393484 w 6789178"/>
              <a:gd name="connsiteY88" fmla="*/ 1085958 h 1432704"/>
              <a:gd name="connsiteX89" fmla="*/ 377320 w 6789178"/>
              <a:gd name="connsiteY89" fmla="*/ 1079263 h 1432704"/>
              <a:gd name="connsiteX90" fmla="*/ 376056 w 6789178"/>
              <a:gd name="connsiteY90" fmla="*/ 1076212 h 1432704"/>
              <a:gd name="connsiteX91" fmla="*/ 6392428 w 6789178"/>
              <a:gd name="connsiteY91" fmla="*/ 1040238 h 1432704"/>
              <a:gd name="connsiteX92" fmla="*/ 6415288 w 6789178"/>
              <a:gd name="connsiteY92" fmla="*/ 1063098 h 1432704"/>
              <a:gd name="connsiteX93" fmla="*/ 6392428 w 6789178"/>
              <a:gd name="connsiteY93" fmla="*/ 1085958 h 1432704"/>
              <a:gd name="connsiteX94" fmla="*/ 6369568 w 6789178"/>
              <a:gd name="connsiteY94" fmla="*/ 1063098 h 1432704"/>
              <a:gd name="connsiteX95" fmla="*/ 6392428 w 6789178"/>
              <a:gd name="connsiteY95" fmla="*/ 1040238 h 1432704"/>
              <a:gd name="connsiteX96" fmla="*/ 6205483 w 6789178"/>
              <a:gd name="connsiteY96" fmla="*/ 1040238 h 1432704"/>
              <a:gd name="connsiteX97" fmla="*/ 6228343 w 6789178"/>
              <a:gd name="connsiteY97" fmla="*/ 1063098 h 1432704"/>
              <a:gd name="connsiteX98" fmla="*/ 6205483 w 6789178"/>
              <a:gd name="connsiteY98" fmla="*/ 1085958 h 1432704"/>
              <a:gd name="connsiteX99" fmla="*/ 6182623 w 6789178"/>
              <a:gd name="connsiteY99" fmla="*/ 1063098 h 1432704"/>
              <a:gd name="connsiteX100" fmla="*/ 6205483 w 6789178"/>
              <a:gd name="connsiteY100" fmla="*/ 1040238 h 1432704"/>
              <a:gd name="connsiteX101" fmla="*/ 6018538 w 6789178"/>
              <a:gd name="connsiteY101" fmla="*/ 1040238 h 1432704"/>
              <a:gd name="connsiteX102" fmla="*/ 6041398 w 6789178"/>
              <a:gd name="connsiteY102" fmla="*/ 1063098 h 1432704"/>
              <a:gd name="connsiteX103" fmla="*/ 6018538 w 6789178"/>
              <a:gd name="connsiteY103" fmla="*/ 1085958 h 1432704"/>
              <a:gd name="connsiteX104" fmla="*/ 5995678 w 6789178"/>
              <a:gd name="connsiteY104" fmla="*/ 1063098 h 1432704"/>
              <a:gd name="connsiteX105" fmla="*/ 6018538 w 6789178"/>
              <a:gd name="connsiteY105" fmla="*/ 1040238 h 1432704"/>
              <a:gd name="connsiteX106" fmla="*/ 5831593 w 6789178"/>
              <a:gd name="connsiteY106" fmla="*/ 1040238 h 1432704"/>
              <a:gd name="connsiteX107" fmla="*/ 5854453 w 6789178"/>
              <a:gd name="connsiteY107" fmla="*/ 1063098 h 1432704"/>
              <a:gd name="connsiteX108" fmla="*/ 5831593 w 6789178"/>
              <a:gd name="connsiteY108" fmla="*/ 1085958 h 1432704"/>
              <a:gd name="connsiteX109" fmla="*/ 5808733 w 6789178"/>
              <a:gd name="connsiteY109" fmla="*/ 1063098 h 1432704"/>
              <a:gd name="connsiteX110" fmla="*/ 5831593 w 6789178"/>
              <a:gd name="connsiteY110" fmla="*/ 1040238 h 1432704"/>
              <a:gd name="connsiteX111" fmla="*/ 5644648 w 6789178"/>
              <a:gd name="connsiteY111" fmla="*/ 1040238 h 1432704"/>
              <a:gd name="connsiteX112" fmla="*/ 5667508 w 6789178"/>
              <a:gd name="connsiteY112" fmla="*/ 1063098 h 1432704"/>
              <a:gd name="connsiteX113" fmla="*/ 5666177 w 6789178"/>
              <a:gd name="connsiteY113" fmla="*/ 1066311 h 1432704"/>
              <a:gd name="connsiteX114" fmla="*/ 5632481 w 6789178"/>
              <a:gd name="connsiteY114" fmla="*/ 1045278 h 1432704"/>
              <a:gd name="connsiteX115" fmla="*/ 1141264 w 6789178"/>
              <a:gd name="connsiteY115" fmla="*/ 1040238 h 1432704"/>
              <a:gd name="connsiteX116" fmla="*/ 1164124 w 6789178"/>
              <a:gd name="connsiteY116" fmla="*/ 1063098 h 1432704"/>
              <a:gd name="connsiteX117" fmla="*/ 1141264 w 6789178"/>
              <a:gd name="connsiteY117" fmla="*/ 1085958 h 1432704"/>
              <a:gd name="connsiteX118" fmla="*/ 1118404 w 6789178"/>
              <a:gd name="connsiteY118" fmla="*/ 1063098 h 1432704"/>
              <a:gd name="connsiteX119" fmla="*/ 1141264 w 6789178"/>
              <a:gd name="connsiteY119" fmla="*/ 1040238 h 1432704"/>
              <a:gd name="connsiteX120" fmla="*/ 954319 w 6789178"/>
              <a:gd name="connsiteY120" fmla="*/ 1040238 h 1432704"/>
              <a:gd name="connsiteX121" fmla="*/ 977179 w 6789178"/>
              <a:gd name="connsiteY121" fmla="*/ 1063098 h 1432704"/>
              <a:gd name="connsiteX122" fmla="*/ 954319 w 6789178"/>
              <a:gd name="connsiteY122" fmla="*/ 1085958 h 1432704"/>
              <a:gd name="connsiteX123" fmla="*/ 931459 w 6789178"/>
              <a:gd name="connsiteY123" fmla="*/ 1063098 h 1432704"/>
              <a:gd name="connsiteX124" fmla="*/ 954319 w 6789178"/>
              <a:gd name="connsiteY124" fmla="*/ 1040238 h 1432704"/>
              <a:gd name="connsiteX125" fmla="*/ 767374 w 6789178"/>
              <a:gd name="connsiteY125" fmla="*/ 1040238 h 1432704"/>
              <a:gd name="connsiteX126" fmla="*/ 790234 w 6789178"/>
              <a:gd name="connsiteY126" fmla="*/ 1063098 h 1432704"/>
              <a:gd name="connsiteX127" fmla="*/ 767374 w 6789178"/>
              <a:gd name="connsiteY127" fmla="*/ 1085958 h 1432704"/>
              <a:gd name="connsiteX128" fmla="*/ 744514 w 6789178"/>
              <a:gd name="connsiteY128" fmla="*/ 1063098 h 1432704"/>
              <a:gd name="connsiteX129" fmla="*/ 767374 w 6789178"/>
              <a:gd name="connsiteY129" fmla="*/ 1040238 h 1432704"/>
              <a:gd name="connsiteX130" fmla="*/ 580429 w 6789178"/>
              <a:gd name="connsiteY130" fmla="*/ 1040238 h 1432704"/>
              <a:gd name="connsiteX131" fmla="*/ 603289 w 6789178"/>
              <a:gd name="connsiteY131" fmla="*/ 1063098 h 1432704"/>
              <a:gd name="connsiteX132" fmla="*/ 580429 w 6789178"/>
              <a:gd name="connsiteY132" fmla="*/ 1085958 h 1432704"/>
              <a:gd name="connsiteX133" fmla="*/ 557569 w 6789178"/>
              <a:gd name="connsiteY133" fmla="*/ 1063098 h 1432704"/>
              <a:gd name="connsiteX134" fmla="*/ 580429 w 6789178"/>
              <a:gd name="connsiteY134" fmla="*/ 1040238 h 1432704"/>
              <a:gd name="connsiteX135" fmla="*/ 6202585 w 6789178"/>
              <a:gd name="connsiteY135" fmla="*/ 868066 h 1432704"/>
              <a:gd name="connsiteX136" fmla="*/ 6226380 w 6789178"/>
              <a:gd name="connsiteY136" fmla="*/ 884987 h 1432704"/>
              <a:gd name="connsiteX137" fmla="*/ 6228343 w 6789178"/>
              <a:gd name="connsiteY137" fmla="*/ 889725 h 1432704"/>
              <a:gd name="connsiteX138" fmla="*/ 6205483 w 6789178"/>
              <a:gd name="connsiteY138" fmla="*/ 912585 h 1432704"/>
              <a:gd name="connsiteX139" fmla="*/ 6182623 w 6789178"/>
              <a:gd name="connsiteY139" fmla="*/ 889725 h 1432704"/>
              <a:gd name="connsiteX140" fmla="*/ 6189319 w 6789178"/>
              <a:gd name="connsiteY140" fmla="*/ 873561 h 1432704"/>
              <a:gd name="connsiteX141" fmla="*/ 6018538 w 6789178"/>
              <a:gd name="connsiteY141" fmla="*/ 866865 h 1432704"/>
              <a:gd name="connsiteX142" fmla="*/ 6041398 w 6789178"/>
              <a:gd name="connsiteY142" fmla="*/ 889725 h 1432704"/>
              <a:gd name="connsiteX143" fmla="*/ 6018538 w 6789178"/>
              <a:gd name="connsiteY143" fmla="*/ 912585 h 1432704"/>
              <a:gd name="connsiteX144" fmla="*/ 5995678 w 6789178"/>
              <a:gd name="connsiteY144" fmla="*/ 889725 h 1432704"/>
              <a:gd name="connsiteX145" fmla="*/ 6018538 w 6789178"/>
              <a:gd name="connsiteY145" fmla="*/ 866865 h 1432704"/>
              <a:gd name="connsiteX146" fmla="*/ 5831593 w 6789178"/>
              <a:gd name="connsiteY146" fmla="*/ 866865 h 1432704"/>
              <a:gd name="connsiteX147" fmla="*/ 5854453 w 6789178"/>
              <a:gd name="connsiteY147" fmla="*/ 889725 h 1432704"/>
              <a:gd name="connsiteX148" fmla="*/ 5831593 w 6789178"/>
              <a:gd name="connsiteY148" fmla="*/ 912585 h 1432704"/>
              <a:gd name="connsiteX149" fmla="*/ 5808733 w 6789178"/>
              <a:gd name="connsiteY149" fmla="*/ 889725 h 1432704"/>
              <a:gd name="connsiteX150" fmla="*/ 5831593 w 6789178"/>
              <a:gd name="connsiteY150" fmla="*/ 866865 h 1432704"/>
              <a:gd name="connsiteX151" fmla="*/ 5644648 w 6789178"/>
              <a:gd name="connsiteY151" fmla="*/ 866865 h 1432704"/>
              <a:gd name="connsiteX152" fmla="*/ 5667508 w 6789178"/>
              <a:gd name="connsiteY152" fmla="*/ 889725 h 1432704"/>
              <a:gd name="connsiteX153" fmla="*/ 5644648 w 6789178"/>
              <a:gd name="connsiteY153" fmla="*/ 912585 h 1432704"/>
              <a:gd name="connsiteX154" fmla="*/ 5621788 w 6789178"/>
              <a:gd name="connsiteY154" fmla="*/ 889725 h 1432704"/>
              <a:gd name="connsiteX155" fmla="*/ 5644648 w 6789178"/>
              <a:gd name="connsiteY155" fmla="*/ 866865 h 1432704"/>
              <a:gd name="connsiteX156" fmla="*/ 5457703 w 6789178"/>
              <a:gd name="connsiteY156" fmla="*/ 866865 h 1432704"/>
              <a:gd name="connsiteX157" fmla="*/ 5480563 w 6789178"/>
              <a:gd name="connsiteY157" fmla="*/ 889725 h 1432704"/>
              <a:gd name="connsiteX158" fmla="*/ 5457703 w 6789178"/>
              <a:gd name="connsiteY158" fmla="*/ 912585 h 1432704"/>
              <a:gd name="connsiteX159" fmla="*/ 5434843 w 6789178"/>
              <a:gd name="connsiteY159" fmla="*/ 889725 h 1432704"/>
              <a:gd name="connsiteX160" fmla="*/ 5457703 w 6789178"/>
              <a:gd name="connsiteY160" fmla="*/ 866865 h 1432704"/>
              <a:gd name="connsiteX161" fmla="*/ 1515154 w 6789178"/>
              <a:gd name="connsiteY161" fmla="*/ 866865 h 1432704"/>
              <a:gd name="connsiteX162" fmla="*/ 1531319 w 6789178"/>
              <a:gd name="connsiteY162" fmla="*/ 873561 h 1432704"/>
              <a:gd name="connsiteX163" fmla="*/ 1534707 w 6789178"/>
              <a:gd name="connsiteY163" fmla="*/ 881740 h 1432704"/>
              <a:gd name="connsiteX164" fmla="*/ 1510999 w 6789178"/>
              <a:gd name="connsiteY164" fmla="*/ 892109 h 1432704"/>
              <a:gd name="connsiteX165" fmla="*/ 1496459 w 6789178"/>
              <a:gd name="connsiteY165" fmla="*/ 899780 h 1432704"/>
              <a:gd name="connsiteX166" fmla="*/ 1492294 w 6789178"/>
              <a:gd name="connsiteY166" fmla="*/ 889725 h 1432704"/>
              <a:gd name="connsiteX167" fmla="*/ 1515154 w 6789178"/>
              <a:gd name="connsiteY167" fmla="*/ 866865 h 1432704"/>
              <a:gd name="connsiteX168" fmla="*/ 1328209 w 6789178"/>
              <a:gd name="connsiteY168" fmla="*/ 866865 h 1432704"/>
              <a:gd name="connsiteX169" fmla="*/ 1351069 w 6789178"/>
              <a:gd name="connsiteY169" fmla="*/ 889725 h 1432704"/>
              <a:gd name="connsiteX170" fmla="*/ 1328209 w 6789178"/>
              <a:gd name="connsiteY170" fmla="*/ 912585 h 1432704"/>
              <a:gd name="connsiteX171" fmla="*/ 1305349 w 6789178"/>
              <a:gd name="connsiteY171" fmla="*/ 889725 h 1432704"/>
              <a:gd name="connsiteX172" fmla="*/ 1328209 w 6789178"/>
              <a:gd name="connsiteY172" fmla="*/ 866865 h 1432704"/>
              <a:gd name="connsiteX173" fmla="*/ 1141264 w 6789178"/>
              <a:gd name="connsiteY173" fmla="*/ 866865 h 1432704"/>
              <a:gd name="connsiteX174" fmla="*/ 1164124 w 6789178"/>
              <a:gd name="connsiteY174" fmla="*/ 889725 h 1432704"/>
              <a:gd name="connsiteX175" fmla="*/ 1141264 w 6789178"/>
              <a:gd name="connsiteY175" fmla="*/ 912585 h 1432704"/>
              <a:gd name="connsiteX176" fmla="*/ 1118404 w 6789178"/>
              <a:gd name="connsiteY176" fmla="*/ 889725 h 1432704"/>
              <a:gd name="connsiteX177" fmla="*/ 1141264 w 6789178"/>
              <a:gd name="connsiteY177" fmla="*/ 866865 h 1432704"/>
              <a:gd name="connsiteX178" fmla="*/ 954319 w 6789178"/>
              <a:gd name="connsiteY178" fmla="*/ 866865 h 1432704"/>
              <a:gd name="connsiteX179" fmla="*/ 977179 w 6789178"/>
              <a:gd name="connsiteY179" fmla="*/ 889725 h 1432704"/>
              <a:gd name="connsiteX180" fmla="*/ 954319 w 6789178"/>
              <a:gd name="connsiteY180" fmla="*/ 912585 h 1432704"/>
              <a:gd name="connsiteX181" fmla="*/ 931459 w 6789178"/>
              <a:gd name="connsiteY181" fmla="*/ 889725 h 1432704"/>
              <a:gd name="connsiteX182" fmla="*/ 954319 w 6789178"/>
              <a:gd name="connsiteY182" fmla="*/ 866865 h 1432704"/>
              <a:gd name="connsiteX183" fmla="*/ 767374 w 6789178"/>
              <a:gd name="connsiteY183" fmla="*/ 866865 h 1432704"/>
              <a:gd name="connsiteX184" fmla="*/ 790234 w 6789178"/>
              <a:gd name="connsiteY184" fmla="*/ 889725 h 1432704"/>
              <a:gd name="connsiteX185" fmla="*/ 767374 w 6789178"/>
              <a:gd name="connsiteY185" fmla="*/ 912585 h 1432704"/>
              <a:gd name="connsiteX186" fmla="*/ 744514 w 6789178"/>
              <a:gd name="connsiteY186" fmla="*/ 889725 h 1432704"/>
              <a:gd name="connsiteX187" fmla="*/ 767374 w 6789178"/>
              <a:gd name="connsiteY187" fmla="*/ 866865 h 1432704"/>
              <a:gd name="connsiteX188" fmla="*/ 5831593 w 6789178"/>
              <a:gd name="connsiteY188" fmla="*/ 693492 h 1432704"/>
              <a:gd name="connsiteX189" fmla="*/ 5854453 w 6789178"/>
              <a:gd name="connsiteY189" fmla="*/ 716352 h 1432704"/>
              <a:gd name="connsiteX190" fmla="*/ 5831593 w 6789178"/>
              <a:gd name="connsiteY190" fmla="*/ 739212 h 1432704"/>
              <a:gd name="connsiteX191" fmla="*/ 5808733 w 6789178"/>
              <a:gd name="connsiteY191" fmla="*/ 716352 h 1432704"/>
              <a:gd name="connsiteX192" fmla="*/ 5831593 w 6789178"/>
              <a:gd name="connsiteY192" fmla="*/ 693492 h 1432704"/>
              <a:gd name="connsiteX193" fmla="*/ 5644648 w 6789178"/>
              <a:gd name="connsiteY193" fmla="*/ 693492 h 1432704"/>
              <a:gd name="connsiteX194" fmla="*/ 5667508 w 6789178"/>
              <a:gd name="connsiteY194" fmla="*/ 716352 h 1432704"/>
              <a:gd name="connsiteX195" fmla="*/ 5644648 w 6789178"/>
              <a:gd name="connsiteY195" fmla="*/ 739212 h 1432704"/>
              <a:gd name="connsiteX196" fmla="*/ 5621788 w 6789178"/>
              <a:gd name="connsiteY196" fmla="*/ 716352 h 1432704"/>
              <a:gd name="connsiteX197" fmla="*/ 5644648 w 6789178"/>
              <a:gd name="connsiteY197" fmla="*/ 693492 h 1432704"/>
              <a:gd name="connsiteX198" fmla="*/ 5457703 w 6789178"/>
              <a:gd name="connsiteY198" fmla="*/ 693492 h 1432704"/>
              <a:gd name="connsiteX199" fmla="*/ 5480563 w 6789178"/>
              <a:gd name="connsiteY199" fmla="*/ 716352 h 1432704"/>
              <a:gd name="connsiteX200" fmla="*/ 5457703 w 6789178"/>
              <a:gd name="connsiteY200" fmla="*/ 739212 h 1432704"/>
              <a:gd name="connsiteX201" fmla="*/ 5434843 w 6789178"/>
              <a:gd name="connsiteY201" fmla="*/ 716352 h 1432704"/>
              <a:gd name="connsiteX202" fmla="*/ 5457703 w 6789178"/>
              <a:gd name="connsiteY202" fmla="*/ 693492 h 1432704"/>
              <a:gd name="connsiteX203" fmla="*/ 5270758 w 6789178"/>
              <a:gd name="connsiteY203" fmla="*/ 693492 h 1432704"/>
              <a:gd name="connsiteX204" fmla="*/ 5293618 w 6789178"/>
              <a:gd name="connsiteY204" fmla="*/ 716352 h 1432704"/>
              <a:gd name="connsiteX205" fmla="*/ 5270758 w 6789178"/>
              <a:gd name="connsiteY205" fmla="*/ 739212 h 1432704"/>
              <a:gd name="connsiteX206" fmla="*/ 5247898 w 6789178"/>
              <a:gd name="connsiteY206" fmla="*/ 716352 h 1432704"/>
              <a:gd name="connsiteX207" fmla="*/ 5270758 w 6789178"/>
              <a:gd name="connsiteY207" fmla="*/ 693492 h 1432704"/>
              <a:gd name="connsiteX208" fmla="*/ 5083813 w 6789178"/>
              <a:gd name="connsiteY208" fmla="*/ 693492 h 1432704"/>
              <a:gd name="connsiteX209" fmla="*/ 5106673 w 6789178"/>
              <a:gd name="connsiteY209" fmla="*/ 716352 h 1432704"/>
              <a:gd name="connsiteX210" fmla="*/ 5083813 w 6789178"/>
              <a:gd name="connsiteY210" fmla="*/ 739212 h 1432704"/>
              <a:gd name="connsiteX211" fmla="*/ 5060953 w 6789178"/>
              <a:gd name="connsiteY211" fmla="*/ 716352 h 1432704"/>
              <a:gd name="connsiteX212" fmla="*/ 5083813 w 6789178"/>
              <a:gd name="connsiteY212" fmla="*/ 693492 h 1432704"/>
              <a:gd name="connsiteX213" fmla="*/ 4896868 w 6789178"/>
              <a:gd name="connsiteY213" fmla="*/ 693492 h 1432704"/>
              <a:gd name="connsiteX214" fmla="*/ 4919728 w 6789178"/>
              <a:gd name="connsiteY214" fmla="*/ 716352 h 1432704"/>
              <a:gd name="connsiteX215" fmla="*/ 4919203 w 6789178"/>
              <a:gd name="connsiteY215" fmla="*/ 717621 h 1432704"/>
              <a:gd name="connsiteX216" fmla="*/ 4879303 w 6789178"/>
              <a:gd name="connsiteY216" fmla="*/ 703570 h 1432704"/>
              <a:gd name="connsiteX217" fmla="*/ 4880704 w 6789178"/>
              <a:gd name="connsiteY217" fmla="*/ 700188 h 1432704"/>
              <a:gd name="connsiteX218" fmla="*/ 4896868 w 6789178"/>
              <a:gd name="connsiteY218" fmla="*/ 693492 h 1432704"/>
              <a:gd name="connsiteX219" fmla="*/ 1889044 w 6789178"/>
              <a:gd name="connsiteY219" fmla="*/ 693492 h 1432704"/>
              <a:gd name="connsiteX220" fmla="*/ 1911904 w 6789178"/>
              <a:gd name="connsiteY220" fmla="*/ 716352 h 1432704"/>
              <a:gd name="connsiteX221" fmla="*/ 1907353 w 6789178"/>
              <a:gd name="connsiteY221" fmla="*/ 727340 h 1432704"/>
              <a:gd name="connsiteX222" fmla="*/ 1881966 w 6789178"/>
              <a:gd name="connsiteY222" fmla="*/ 736280 h 1432704"/>
              <a:gd name="connsiteX223" fmla="*/ 1872880 w 6789178"/>
              <a:gd name="connsiteY223" fmla="*/ 732517 h 1432704"/>
              <a:gd name="connsiteX224" fmla="*/ 1866184 w 6789178"/>
              <a:gd name="connsiteY224" fmla="*/ 716352 h 1432704"/>
              <a:gd name="connsiteX225" fmla="*/ 1889044 w 6789178"/>
              <a:gd name="connsiteY225" fmla="*/ 693492 h 1432704"/>
              <a:gd name="connsiteX226" fmla="*/ 1702099 w 6789178"/>
              <a:gd name="connsiteY226" fmla="*/ 693492 h 1432704"/>
              <a:gd name="connsiteX227" fmla="*/ 1724959 w 6789178"/>
              <a:gd name="connsiteY227" fmla="*/ 716352 h 1432704"/>
              <a:gd name="connsiteX228" fmla="*/ 1702099 w 6789178"/>
              <a:gd name="connsiteY228" fmla="*/ 739212 h 1432704"/>
              <a:gd name="connsiteX229" fmla="*/ 1679239 w 6789178"/>
              <a:gd name="connsiteY229" fmla="*/ 716352 h 1432704"/>
              <a:gd name="connsiteX230" fmla="*/ 1702099 w 6789178"/>
              <a:gd name="connsiteY230" fmla="*/ 693492 h 1432704"/>
              <a:gd name="connsiteX231" fmla="*/ 1515154 w 6789178"/>
              <a:gd name="connsiteY231" fmla="*/ 693492 h 1432704"/>
              <a:gd name="connsiteX232" fmla="*/ 1538014 w 6789178"/>
              <a:gd name="connsiteY232" fmla="*/ 716352 h 1432704"/>
              <a:gd name="connsiteX233" fmla="*/ 1515154 w 6789178"/>
              <a:gd name="connsiteY233" fmla="*/ 739212 h 1432704"/>
              <a:gd name="connsiteX234" fmla="*/ 1492294 w 6789178"/>
              <a:gd name="connsiteY234" fmla="*/ 716352 h 1432704"/>
              <a:gd name="connsiteX235" fmla="*/ 1515154 w 6789178"/>
              <a:gd name="connsiteY235" fmla="*/ 693492 h 1432704"/>
              <a:gd name="connsiteX236" fmla="*/ 1328209 w 6789178"/>
              <a:gd name="connsiteY236" fmla="*/ 693492 h 1432704"/>
              <a:gd name="connsiteX237" fmla="*/ 1351069 w 6789178"/>
              <a:gd name="connsiteY237" fmla="*/ 716352 h 1432704"/>
              <a:gd name="connsiteX238" fmla="*/ 1328209 w 6789178"/>
              <a:gd name="connsiteY238" fmla="*/ 739212 h 1432704"/>
              <a:gd name="connsiteX239" fmla="*/ 1305349 w 6789178"/>
              <a:gd name="connsiteY239" fmla="*/ 716352 h 1432704"/>
              <a:gd name="connsiteX240" fmla="*/ 1328209 w 6789178"/>
              <a:gd name="connsiteY240" fmla="*/ 693492 h 1432704"/>
              <a:gd name="connsiteX241" fmla="*/ 1141264 w 6789178"/>
              <a:gd name="connsiteY241" fmla="*/ 693492 h 1432704"/>
              <a:gd name="connsiteX242" fmla="*/ 1164124 w 6789178"/>
              <a:gd name="connsiteY242" fmla="*/ 716352 h 1432704"/>
              <a:gd name="connsiteX243" fmla="*/ 1141264 w 6789178"/>
              <a:gd name="connsiteY243" fmla="*/ 739212 h 1432704"/>
              <a:gd name="connsiteX244" fmla="*/ 1118404 w 6789178"/>
              <a:gd name="connsiteY244" fmla="*/ 716352 h 1432704"/>
              <a:gd name="connsiteX245" fmla="*/ 1141264 w 6789178"/>
              <a:gd name="connsiteY245" fmla="*/ 693492 h 1432704"/>
              <a:gd name="connsiteX246" fmla="*/ 954319 w 6789178"/>
              <a:gd name="connsiteY246" fmla="*/ 693492 h 1432704"/>
              <a:gd name="connsiteX247" fmla="*/ 977179 w 6789178"/>
              <a:gd name="connsiteY247" fmla="*/ 716352 h 1432704"/>
              <a:gd name="connsiteX248" fmla="*/ 954319 w 6789178"/>
              <a:gd name="connsiteY248" fmla="*/ 739212 h 1432704"/>
              <a:gd name="connsiteX249" fmla="*/ 931459 w 6789178"/>
              <a:gd name="connsiteY249" fmla="*/ 716352 h 1432704"/>
              <a:gd name="connsiteX250" fmla="*/ 954319 w 6789178"/>
              <a:gd name="connsiteY250" fmla="*/ 693492 h 1432704"/>
              <a:gd name="connsiteX251" fmla="*/ 1159252 w 6789178"/>
              <a:gd name="connsiteY251" fmla="*/ 554743 h 1432704"/>
              <a:gd name="connsiteX252" fmla="*/ 1157429 w 6789178"/>
              <a:gd name="connsiteY252" fmla="*/ 559144 h 1432704"/>
              <a:gd name="connsiteX253" fmla="*/ 1141264 w 6789178"/>
              <a:gd name="connsiteY253" fmla="*/ 565839 h 1432704"/>
              <a:gd name="connsiteX254" fmla="*/ 1139231 w 6789178"/>
              <a:gd name="connsiteY254" fmla="*/ 564997 h 1432704"/>
              <a:gd name="connsiteX255" fmla="*/ 5635060 w 6789178"/>
              <a:gd name="connsiteY255" fmla="*/ 524091 h 1432704"/>
              <a:gd name="connsiteX256" fmla="*/ 5666315 w 6789178"/>
              <a:gd name="connsiteY256" fmla="*/ 540099 h 1432704"/>
              <a:gd name="connsiteX257" fmla="*/ 5667508 w 6789178"/>
              <a:gd name="connsiteY257" fmla="*/ 542979 h 1432704"/>
              <a:gd name="connsiteX258" fmla="*/ 5644648 w 6789178"/>
              <a:gd name="connsiteY258" fmla="*/ 565839 h 1432704"/>
              <a:gd name="connsiteX259" fmla="*/ 5621788 w 6789178"/>
              <a:gd name="connsiteY259" fmla="*/ 542979 h 1432704"/>
              <a:gd name="connsiteX260" fmla="*/ 5628484 w 6789178"/>
              <a:gd name="connsiteY260" fmla="*/ 526815 h 1432704"/>
              <a:gd name="connsiteX261" fmla="*/ 5457703 w 6789178"/>
              <a:gd name="connsiteY261" fmla="*/ 520119 h 1432704"/>
              <a:gd name="connsiteX262" fmla="*/ 5480563 w 6789178"/>
              <a:gd name="connsiteY262" fmla="*/ 542979 h 1432704"/>
              <a:gd name="connsiteX263" fmla="*/ 5457703 w 6789178"/>
              <a:gd name="connsiteY263" fmla="*/ 565839 h 1432704"/>
              <a:gd name="connsiteX264" fmla="*/ 5434843 w 6789178"/>
              <a:gd name="connsiteY264" fmla="*/ 542979 h 1432704"/>
              <a:gd name="connsiteX265" fmla="*/ 5457703 w 6789178"/>
              <a:gd name="connsiteY265" fmla="*/ 520119 h 1432704"/>
              <a:gd name="connsiteX266" fmla="*/ 5270758 w 6789178"/>
              <a:gd name="connsiteY266" fmla="*/ 520119 h 1432704"/>
              <a:gd name="connsiteX267" fmla="*/ 5293618 w 6789178"/>
              <a:gd name="connsiteY267" fmla="*/ 542979 h 1432704"/>
              <a:gd name="connsiteX268" fmla="*/ 5270758 w 6789178"/>
              <a:gd name="connsiteY268" fmla="*/ 565839 h 1432704"/>
              <a:gd name="connsiteX269" fmla="*/ 5247898 w 6789178"/>
              <a:gd name="connsiteY269" fmla="*/ 542979 h 1432704"/>
              <a:gd name="connsiteX270" fmla="*/ 5270758 w 6789178"/>
              <a:gd name="connsiteY270" fmla="*/ 520119 h 1432704"/>
              <a:gd name="connsiteX271" fmla="*/ 5083813 w 6789178"/>
              <a:gd name="connsiteY271" fmla="*/ 520119 h 1432704"/>
              <a:gd name="connsiteX272" fmla="*/ 5106673 w 6789178"/>
              <a:gd name="connsiteY272" fmla="*/ 542979 h 1432704"/>
              <a:gd name="connsiteX273" fmla="*/ 5083813 w 6789178"/>
              <a:gd name="connsiteY273" fmla="*/ 565839 h 1432704"/>
              <a:gd name="connsiteX274" fmla="*/ 5060953 w 6789178"/>
              <a:gd name="connsiteY274" fmla="*/ 542979 h 1432704"/>
              <a:gd name="connsiteX275" fmla="*/ 5083813 w 6789178"/>
              <a:gd name="connsiteY275" fmla="*/ 520119 h 1432704"/>
              <a:gd name="connsiteX276" fmla="*/ 4896868 w 6789178"/>
              <a:gd name="connsiteY276" fmla="*/ 520119 h 1432704"/>
              <a:gd name="connsiteX277" fmla="*/ 4919728 w 6789178"/>
              <a:gd name="connsiteY277" fmla="*/ 542979 h 1432704"/>
              <a:gd name="connsiteX278" fmla="*/ 4896868 w 6789178"/>
              <a:gd name="connsiteY278" fmla="*/ 565839 h 1432704"/>
              <a:gd name="connsiteX279" fmla="*/ 4874008 w 6789178"/>
              <a:gd name="connsiteY279" fmla="*/ 542979 h 1432704"/>
              <a:gd name="connsiteX280" fmla="*/ 4896868 w 6789178"/>
              <a:gd name="connsiteY280" fmla="*/ 520119 h 1432704"/>
              <a:gd name="connsiteX281" fmla="*/ 4709923 w 6789178"/>
              <a:gd name="connsiteY281" fmla="*/ 520119 h 1432704"/>
              <a:gd name="connsiteX282" fmla="*/ 4732783 w 6789178"/>
              <a:gd name="connsiteY282" fmla="*/ 542979 h 1432704"/>
              <a:gd name="connsiteX283" fmla="*/ 4709923 w 6789178"/>
              <a:gd name="connsiteY283" fmla="*/ 565839 h 1432704"/>
              <a:gd name="connsiteX284" fmla="*/ 4687063 w 6789178"/>
              <a:gd name="connsiteY284" fmla="*/ 542979 h 1432704"/>
              <a:gd name="connsiteX285" fmla="*/ 4709923 w 6789178"/>
              <a:gd name="connsiteY285" fmla="*/ 520119 h 1432704"/>
              <a:gd name="connsiteX286" fmla="*/ 4522978 w 6789178"/>
              <a:gd name="connsiteY286" fmla="*/ 520119 h 1432704"/>
              <a:gd name="connsiteX287" fmla="*/ 4545838 w 6789178"/>
              <a:gd name="connsiteY287" fmla="*/ 542979 h 1432704"/>
              <a:gd name="connsiteX288" fmla="*/ 4522978 w 6789178"/>
              <a:gd name="connsiteY288" fmla="*/ 565839 h 1432704"/>
              <a:gd name="connsiteX289" fmla="*/ 4500118 w 6789178"/>
              <a:gd name="connsiteY289" fmla="*/ 542979 h 1432704"/>
              <a:gd name="connsiteX290" fmla="*/ 4522978 w 6789178"/>
              <a:gd name="connsiteY290" fmla="*/ 520119 h 1432704"/>
              <a:gd name="connsiteX291" fmla="*/ 4336033 w 6789178"/>
              <a:gd name="connsiteY291" fmla="*/ 520119 h 1432704"/>
              <a:gd name="connsiteX292" fmla="*/ 4358893 w 6789178"/>
              <a:gd name="connsiteY292" fmla="*/ 542979 h 1432704"/>
              <a:gd name="connsiteX293" fmla="*/ 4353603 w 6789178"/>
              <a:gd name="connsiteY293" fmla="*/ 555752 h 1432704"/>
              <a:gd name="connsiteX294" fmla="*/ 4315436 w 6789178"/>
              <a:gd name="connsiteY294" fmla="*/ 548443 h 1432704"/>
              <a:gd name="connsiteX295" fmla="*/ 4313173 w 6789178"/>
              <a:gd name="connsiteY295" fmla="*/ 542979 h 1432704"/>
              <a:gd name="connsiteX296" fmla="*/ 4336033 w 6789178"/>
              <a:gd name="connsiteY296" fmla="*/ 520119 h 1432704"/>
              <a:gd name="connsiteX297" fmla="*/ 2636824 w 6789178"/>
              <a:gd name="connsiteY297" fmla="*/ 520119 h 1432704"/>
              <a:gd name="connsiteX298" fmla="*/ 2652567 w 6789178"/>
              <a:gd name="connsiteY298" fmla="*/ 526640 h 1432704"/>
              <a:gd name="connsiteX299" fmla="*/ 2617989 w 6789178"/>
              <a:gd name="connsiteY299" fmla="*/ 533262 h 1432704"/>
              <a:gd name="connsiteX300" fmla="*/ 2620660 w 6789178"/>
              <a:gd name="connsiteY300" fmla="*/ 526815 h 1432704"/>
              <a:gd name="connsiteX301" fmla="*/ 2636824 w 6789178"/>
              <a:gd name="connsiteY301" fmla="*/ 520119 h 1432704"/>
              <a:gd name="connsiteX302" fmla="*/ 2449879 w 6789178"/>
              <a:gd name="connsiteY302" fmla="*/ 520119 h 1432704"/>
              <a:gd name="connsiteX303" fmla="*/ 2472739 w 6789178"/>
              <a:gd name="connsiteY303" fmla="*/ 542979 h 1432704"/>
              <a:gd name="connsiteX304" fmla="*/ 2466044 w 6789178"/>
              <a:gd name="connsiteY304" fmla="*/ 559144 h 1432704"/>
              <a:gd name="connsiteX305" fmla="*/ 2451598 w 6789178"/>
              <a:gd name="connsiteY305" fmla="*/ 565127 h 1432704"/>
              <a:gd name="connsiteX306" fmla="*/ 2449247 w 6789178"/>
              <a:gd name="connsiteY306" fmla="*/ 565577 h 1432704"/>
              <a:gd name="connsiteX307" fmla="*/ 2433715 w 6789178"/>
              <a:gd name="connsiteY307" fmla="*/ 559144 h 1432704"/>
              <a:gd name="connsiteX308" fmla="*/ 2427019 w 6789178"/>
              <a:gd name="connsiteY308" fmla="*/ 542979 h 1432704"/>
              <a:gd name="connsiteX309" fmla="*/ 2449879 w 6789178"/>
              <a:gd name="connsiteY309" fmla="*/ 520119 h 1432704"/>
              <a:gd name="connsiteX310" fmla="*/ 2262934 w 6789178"/>
              <a:gd name="connsiteY310" fmla="*/ 520119 h 1432704"/>
              <a:gd name="connsiteX311" fmla="*/ 2285794 w 6789178"/>
              <a:gd name="connsiteY311" fmla="*/ 542979 h 1432704"/>
              <a:gd name="connsiteX312" fmla="*/ 2262934 w 6789178"/>
              <a:gd name="connsiteY312" fmla="*/ 565839 h 1432704"/>
              <a:gd name="connsiteX313" fmla="*/ 2240074 w 6789178"/>
              <a:gd name="connsiteY313" fmla="*/ 542979 h 1432704"/>
              <a:gd name="connsiteX314" fmla="*/ 2262934 w 6789178"/>
              <a:gd name="connsiteY314" fmla="*/ 520119 h 1432704"/>
              <a:gd name="connsiteX315" fmla="*/ 2075989 w 6789178"/>
              <a:gd name="connsiteY315" fmla="*/ 520119 h 1432704"/>
              <a:gd name="connsiteX316" fmla="*/ 2098849 w 6789178"/>
              <a:gd name="connsiteY316" fmla="*/ 542979 h 1432704"/>
              <a:gd name="connsiteX317" fmla="*/ 2075989 w 6789178"/>
              <a:gd name="connsiteY317" fmla="*/ 565839 h 1432704"/>
              <a:gd name="connsiteX318" fmla="*/ 2053129 w 6789178"/>
              <a:gd name="connsiteY318" fmla="*/ 542979 h 1432704"/>
              <a:gd name="connsiteX319" fmla="*/ 2075989 w 6789178"/>
              <a:gd name="connsiteY319" fmla="*/ 520119 h 1432704"/>
              <a:gd name="connsiteX320" fmla="*/ 1889044 w 6789178"/>
              <a:gd name="connsiteY320" fmla="*/ 520119 h 1432704"/>
              <a:gd name="connsiteX321" fmla="*/ 1911904 w 6789178"/>
              <a:gd name="connsiteY321" fmla="*/ 542979 h 1432704"/>
              <a:gd name="connsiteX322" fmla="*/ 1889044 w 6789178"/>
              <a:gd name="connsiteY322" fmla="*/ 565839 h 1432704"/>
              <a:gd name="connsiteX323" fmla="*/ 1866184 w 6789178"/>
              <a:gd name="connsiteY323" fmla="*/ 542979 h 1432704"/>
              <a:gd name="connsiteX324" fmla="*/ 1889044 w 6789178"/>
              <a:gd name="connsiteY324" fmla="*/ 520119 h 1432704"/>
              <a:gd name="connsiteX325" fmla="*/ 1702099 w 6789178"/>
              <a:gd name="connsiteY325" fmla="*/ 520119 h 1432704"/>
              <a:gd name="connsiteX326" fmla="*/ 1724959 w 6789178"/>
              <a:gd name="connsiteY326" fmla="*/ 542979 h 1432704"/>
              <a:gd name="connsiteX327" fmla="*/ 1702099 w 6789178"/>
              <a:gd name="connsiteY327" fmla="*/ 565839 h 1432704"/>
              <a:gd name="connsiteX328" fmla="*/ 1679239 w 6789178"/>
              <a:gd name="connsiteY328" fmla="*/ 542979 h 1432704"/>
              <a:gd name="connsiteX329" fmla="*/ 1702099 w 6789178"/>
              <a:gd name="connsiteY329" fmla="*/ 520119 h 1432704"/>
              <a:gd name="connsiteX330" fmla="*/ 1515154 w 6789178"/>
              <a:gd name="connsiteY330" fmla="*/ 520119 h 1432704"/>
              <a:gd name="connsiteX331" fmla="*/ 1538014 w 6789178"/>
              <a:gd name="connsiteY331" fmla="*/ 542979 h 1432704"/>
              <a:gd name="connsiteX332" fmla="*/ 1515154 w 6789178"/>
              <a:gd name="connsiteY332" fmla="*/ 565839 h 1432704"/>
              <a:gd name="connsiteX333" fmla="*/ 1492294 w 6789178"/>
              <a:gd name="connsiteY333" fmla="*/ 542979 h 1432704"/>
              <a:gd name="connsiteX334" fmla="*/ 1515154 w 6789178"/>
              <a:gd name="connsiteY334" fmla="*/ 520119 h 1432704"/>
              <a:gd name="connsiteX335" fmla="*/ 1328209 w 6789178"/>
              <a:gd name="connsiteY335" fmla="*/ 520119 h 1432704"/>
              <a:gd name="connsiteX336" fmla="*/ 1351069 w 6789178"/>
              <a:gd name="connsiteY336" fmla="*/ 542979 h 1432704"/>
              <a:gd name="connsiteX337" fmla="*/ 1328209 w 6789178"/>
              <a:gd name="connsiteY337" fmla="*/ 565839 h 1432704"/>
              <a:gd name="connsiteX338" fmla="*/ 1305349 w 6789178"/>
              <a:gd name="connsiteY338" fmla="*/ 542979 h 1432704"/>
              <a:gd name="connsiteX339" fmla="*/ 1328209 w 6789178"/>
              <a:gd name="connsiteY339" fmla="*/ 520119 h 1432704"/>
              <a:gd name="connsiteX340" fmla="*/ 1536305 w 6789178"/>
              <a:gd name="connsiteY340" fmla="*/ 373733 h 1432704"/>
              <a:gd name="connsiteX341" fmla="*/ 1531319 w 6789178"/>
              <a:gd name="connsiteY341" fmla="*/ 385771 h 1432704"/>
              <a:gd name="connsiteX342" fmla="*/ 1515154 w 6789178"/>
              <a:gd name="connsiteY342" fmla="*/ 392466 h 1432704"/>
              <a:gd name="connsiteX343" fmla="*/ 1504568 w 6789178"/>
              <a:gd name="connsiteY343" fmla="*/ 388081 h 1432704"/>
              <a:gd name="connsiteX344" fmla="*/ 5261225 w 6789178"/>
              <a:gd name="connsiteY344" fmla="*/ 350695 h 1432704"/>
              <a:gd name="connsiteX345" fmla="*/ 5290579 w 6789178"/>
              <a:gd name="connsiteY345" fmla="*/ 362269 h 1432704"/>
              <a:gd name="connsiteX346" fmla="*/ 5293618 w 6789178"/>
              <a:gd name="connsiteY346" fmla="*/ 369606 h 1432704"/>
              <a:gd name="connsiteX347" fmla="*/ 5270758 w 6789178"/>
              <a:gd name="connsiteY347" fmla="*/ 392466 h 1432704"/>
              <a:gd name="connsiteX348" fmla="*/ 5247898 w 6789178"/>
              <a:gd name="connsiteY348" fmla="*/ 369606 h 1432704"/>
              <a:gd name="connsiteX349" fmla="*/ 5254594 w 6789178"/>
              <a:gd name="connsiteY349" fmla="*/ 353442 h 1432704"/>
              <a:gd name="connsiteX350" fmla="*/ 5083813 w 6789178"/>
              <a:gd name="connsiteY350" fmla="*/ 346746 h 1432704"/>
              <a:gd name="connsiteX351" fmla="*/ 5106673 w 6789178"/>
              <a:gd name="connsiteY351" fmla="*/ 369606 h 1432704"/>
              <a:gd name="connsiteX352" fmla="*/ 5083813 w 6789178"/>
              <a:gd name="connsiteY352" fmla="*/ 392466 h 1432704"/>
              <a:gd name="connsiteX353" fmla="*/ 5060953 w 6789178"/>
              <a:gd name="connsiteY353" fmla="*/ 369606 h 1432704"/>
              <a:gd name="connsiteX354" fmla="*/ 5083813 w 6789178"/>
              <a:gd name="connsiteY354" fmla="*/ 346746 h 1432704"/>
              <a:gd name="connsiteX355" fmla="*/ 4896868 w 6789178"/>
              <a:gd name="connsiteY355" fmla="*/ 346746 h 1432704"/>
              <a:gd name="connsiteX356" fmla="*/ 4919728 w 6789178"/>
              <a:gd name="connsiteY356" fmla="*/ 369606 h 1432704"/>
              <a:gd name="connsiteX357" fmla="*/ 4896868 w 6789178"/>
              <a:gd name="connsiteY357" fmla="*/ 392466 h 1432704"/>
              <a:gd name="connsiteX358" fmla="*/ 4874008 w 6789178"/>
              <a:gd name="connsiteY358" fmla="*/ 369606 h 1432704"/>
              <a:gd name="connsiteX359" fmla="*/ 4896868 w 6789178"/>
              <a:gd name="connsiteY359" fmla="*/ 346746 h 1432704"/>
              <a:gd name="connsiteX360" fmla="*/ 4709923 w 6789178"/>
              <a:gd name="connsiteY360" fmla="*/ 346746 h 1432704"/>
              <a:gd name="connsiteX361" fmla="*/ 4732783 w 6789178"/>
              <a:gd name="connsiteY361" fmla="*/ 369606 h 1432704"/>
              <a:gd name="connsiteX362" fmla="*/ 4709923 w 6789178"/>
              <a:gd name="connsiteY362" fmla="*/ 392466 h 1432704"/>
              <a:gd name="connsiteX363" fmla="*/ 4687063 w 6789178"/>
              <a:gd name="connsiteY363" fmla="*/ 369606 h 1432704"/>
              <a:gd name="connsiteX364" fmla="*/ 4709923 w 6789178"/>
              <a:gd name="connsiteY364" fmla="*/ 346746 h 1432704"/>
              <a:gd name="connsiteX365" fmla="*/ 4522978 w 6789178"/>
              <a:gd name="connsiteY365" fmla="*/ 346746 h 1432704"/>
              <a:gd name="connsiteX366" fmla="*/ 4545838 w 6789178"/>
              <a:gd name="connsiteY366" fmla="*/ 369606 h 1432704"/>
              <a:gd name="connsiteX367" fmla="*/ 4522978 w 6789178"/>
              <a:gd name="connsiteY367" fmla="*/ 392466 h 1432704"/>
              <a:gd name="connsiteX368" fmla="*/ 4500118 w 6789178"/>
              <a:gd name="connsiteY368" fmla="*/ 369606 h 1432704"/>
              <a:gd name="connsiteX369" fmla="*/ 4522978 w 6789178"/>
              <a:gd name="connsiteY369" fmla="*/ 346746 h 1432704"/>
              <a:gd name="connsiteX370" fmla="*/ 4336033 w 6789178"/>
              <a:gd name="connsiteY370" fmla="*/ 346746 h 1432704"/>
              <a:gd name="connsiteX371" fmla="*/ 4358893 w 6789178"/>
              <a:gd name="connsiteY371" fmla="*/ 369606 h 1432704"/>
              <a:gd name="connsiteX372" fmla="*/ 4336033 w 6789178"/>
              <a:gd name="connsiteY372" fmla="*/ 392466 h 1432704"/>
              <a:gd name="connsiteX373" fmla="*/ 4313173 w 6789178"/>
              <a:gd name="connsiteY373" fmla="*/ 369606 h 1432704"/>
              <a:gd name="connsiteX374" fmla="*/ 4336033 w 6789178"/>
              <a:gd name="connsiteY374" fmla="*/ 346746 h 1432704"/>
              <a:gd name="connsiteX375" fmla="*/ 4132393 w 6789178"/>
              <a:gd name="connsiteY375" fmla="*/ 346746 h 1432704"/>
              <a:gd name="connsiteX376" fmla="*/ 4155253 w 6789178"/>
              <a:gd name="connsiteY376" fmla="*/ 369606 h 1432704"/>
              <a:gd name="connsiteX377" fmla="*/ 4132393 w 6789178"/>
              <a:gd name="connsiteY377" fmla="*/ 392466 h 1432704"/>
              <a:gd name="connsiteX378" fmla="*/ 4109533 w 6789178"/>
              <a:gd name="connsiteY378" fmla="*/ 369606 h 1432704"/>
              <a:gd name="connsiteX379" fmla="*/ 4132393 w 6789178"/>
              <a:gd name="connsiteY379" fmla="*/ 346746 h 1432704"/>
              <a:gd name="connsiteX380" fmla="*/ 3945439 w 6789178"/>
              <a:gd name="connsiteY380" fmla="*/ 346746 h 1432704"/>
              <a:gd name="connsiteX381" fmla="*/ 3968299 w 6789178"/>
              <a:gd name="connsiteY381" fmla="*/ 369606 h 1432704"/>
              <a:gd name="connsiteX382" fmla="*/ 3945439 w 6789178"/>
              <a:gd name="connsiteY382" fmla="*/ 392466 h 1432704"/>
              <a:gd name="connsiteX383" fmla="*/ 3922579 w 6789178"/>
              <a:gd name="connsiteY383" fmla="*/ 369606 h 1432704"/>
              <a:gd name="connsiteX384" fmla="*/ 3945439 w 6789178"/>
              <a:gd name="connsiteY384" fmla="*/ 346746 h 1432704"/>
              <a:gd name="connsiteX385" fmla="*/ 3758494 w 6789178"/>
              <a:gd name="connsiteY385" fmla="*/ 346746 h 1432704"/>
              <a:gd name="connsiteX386" fmla="*/ 3781354 w 6789178"/>
              <a:gd name="connsiteY386" fmla="*/ 369606 h 1432704"/>
              <a:gd name="connsiteX387" fmla="*/ 3758494 w 6789178"/>
              <a:gd name="connsiteY387" fmla="*/ 392466 h 1432704"/>
              <a:gd name="connsiteX388" fmla="*/ 3735634 w 6789178"/>
              <a:gd name="connsiteY388" fmla="*/ 369606 h 1432704"/>
              <a:gd name="connsiteX389" fmla="*/ 3758494 w 6789178"/>
              <a:gd name="connsiteY389" fmla="*/ 346746 h 1432704"/>
              <a:gd name="connsiteX390" fmla="*/ 3571549 w 6789178"/>
              <a:gd name="connsiteY390" fmla="*/ 346746 h 1432704"/>
              <a:gd name="connsiteX391" fmla="*/ 3594409 w 6789178"/>
              <a:gd name="connsiteY391" fmla="*/ 369606 h 1432704"/>
              <a:gd name="connsiteX392" fmla="*/ 3571549 w 6789178"/>
              <a:gd name="connsiteY392" fmla="*/ 392466 h 1432704"/>
              <a:gd name="connsiteX393" fmla="*/ 3548689 w 6789178"/>
              <a:gd name="connsiteY393" fmla="*/ 369606 h 1432704"/>
              <a:gd name="connsiteX394" fmla="*/ 3571549 w 6789178"/>
              <a:gd name="connsiteY394" fmla="*/ 346746 h 1432704"/>
              <a:gd name="connsiteX395" fmla="*/ 3384604 w 6789178"/>
              <a:gd name="connsiteY395" fmla="*/ 346746 h 1432704"/>
              <a:gd name="connsiteX396" fmla="*/ 3407464 w 6789178"/>
              <a:gd name="connsiteY396" fmla="*/ 369606 h 1432704"/>
              <a:gd name="connsiteX397" fmla="*/ 3384604 w 6789178"/>
              <a:gd name="connsiteY397" fmla="*/ 392466 h 1432704"/>
              <a:gd name="connsiteX398" fmla="*/ 3361744 w 6789178"/>
              <a:gd name="connsiteY398" fmla="*/ 369606 h 1432704"/>
              <a:gd name="connsiteX399" fmla="*/ 3384604 w 6789178"/>
              <a:gd name="connsiteY399" fmla="*/ 346746 h 1432704"/>
              <a:gd name="connsiteX400" fmla="*/ 3197659 w 6789178"/>
              <a:gd name="connsiteY400" fmla="*/ 346746 h 1432704"/>
              <a:gd name="connsiteX401" fmla="*/ 3220519 w 6789178"/>
              <a:gd name="connsiteY401" fmla="*/ 369606 h 1432704"/>
              <a:gd name="connsiteX402" fmla="*/ 3197659 w 6789178"/>
              <a:gd name="connsiteY402" fmla="*/ 392466 h 1432704"/>
              <a:gd name="connsiteX403" fmla="*/ 3174799 w 6789178"/>
              <a:gd name="connsiteY403" fmla="*/ 369606 h 1432704"/>
              <a:gd name="connsiteX404" fmla="*/ 3197659 w 6789178"/>
              <a:gd name="connsiteY404" fmla="*/ 346746 h 1432704"/>
              <a:gd name="connsiteX405" fmla="*/ 3010714 w 6789178"/>
              <a:gd name="connsiteY405" fmla="*/ 346746 h 1432704"/>
              <a:gd name="connsiteX406" fmla="*/ 3033574 w 6789178"/>
              <a:gd name="connsiteY406" fmla="*/ 369606 h 1432704"/>
              <a:gd name="connsiteX407" fmla="*/ 3010714 w 6789178"/>
              <a:gd name="connsiteY407" fmla="*/ 392466 h 1432704"/>
              <a:gd name="connsiteX408" fmla="*/ 2987854 w 6789178"/>
              <a:gd name="connsiteY408" fmla="*/ 369606 h 1432704"/>
              <a:gd name="connsiteX409" fmla="*/ 3010714 w 6789178"/>
              <a:gd name="connsiteY409" fmla="*/ 346746 h 1432704"/>
              <a:gd name="connsiteX410" fmla="*/ 2823769 w 6789178"/>
              <a:gd name="connsiteY410" fmla="*/ 346746 h 1432704"/>
              <a:gd name="connsiteX411" fmla="*/ 2846629 w 6789178"/>
              <a:gd name="connsiteY411" fmla="*/ 369606 h 1432704"/>
              <a:gd name="connsiteX412" fmla="*/ 2823769 w 6789178"/>
              <a:gd name="connsiteY412" fmla="*/ 392466 h 1432704"/>
              <a:gd name="connsiteX413" fmla="*/ 2800909 w 6789178"/>
              <a:gd name="connsiteY413" fmla="*/ 369606 h 1432704"/>
              <a:gd name="connsiteX414" fmla="*/ 2823769 w 6789178"/>
              <a:gd name="connsiteY414" fmla="*/ 346746 h 1432704"/>
              <a:gd name="connsiteX415" fmla="*/ 2636824 w 6789178"/>
              <a:gd name="connsiteY415" fmla="*/ 346746 h 1432704"/>
              <a:gd name="connsiteX416" fmla="*/ 2659684 w 6789178"/>
              <a:gd name="connsiteY416" fmla="*/ 369606 h 1432704"/>
              <a:gd name="connsiteX417" fmla="*/ 2636824 w 6789178"/>
              <a:gd name="connsiteY417" fmla="*/ 392466 h 1432704"/>
              <a:gd name="connsiteX418" fmla="*/ 2613964 w 6789178"/>
              <a:gd name="connsiteY418" fmla="*/ 369606 h 1432704"/>
              <a:gd name="connsiteX419" fmla="*/ 2636824 w 6789178"/>
              <a:gd name="connsiteY419" fmla="*/ 346746 h 1432704"/>
              <a:gd name="connsiteX420" fmla="*/ 2449879 w 6789178"/>
              <a:gd name="connsiteY420" fmla="*/ 346746 h 1432704"/>
              <a:gd name="connsiteX421" fmla="*/ 2472739 w 6789178"/>
              <a:gd name="connsiteY421" fmla="*/ 369606 h 1432704"/>
              <a:gd name="connsiteX422" fmla="*/ 2449879 w 6789178"/>
              <a:gd name="connsiteY422" fmla="*/ 392466 h 1432704"/>
              <a:gd name="connsiteX423" fmla="*/ 2427019 w 6789178"/>
              <a:gd name="connsiteY423" fmla="*/ 369606 h 1432704"/>
              <a:gd name="connsiteX424" fmla="*/ 2449879 w 6789178"/>
              <a:gd name="connsiteY424" fmla="*/ 346746 h 1432704"/>
              <a:gd name="connsiteX425" fmla="*/ 2262934 w 6789178"/>
              <a:gd name="connsiteY425" fmla="*/ 346746 h 1432704"/>
              <a:gd name="connsiteX426" fmla="*/ 2285794 w 6789178"/>
              <a:gd name="connsiteY426" fmla="*/ 369606 h 1432704"/>
              <a:gd name="connsiteX427" fmla="*/ 2262934 w 6789178"/>
              <a:gd name="connsiteY427" fmla="*/ 392466 h 1432704"/>
              <a:gd name="connsiteX428" fmla="*/ 2240074 w 6789178"/>
              <a:gd name="connsiteY428" fmla="*/ 369606 h 1432704"/>
              <a:gd name="connsiteX429" fmla="*/ 2262934 w 6789178"/>
              <a:gd name="connsiteY429" fmla="*/ 346746 h 1432704"/>
              <a:gd name="connsiteX430" fmla="*/ 2075989 w 6789178"/>
              <a:gd name="connsiteY430" fmla="*/ 346746 h 1432704"/>
              <a:gd name="connsiteX431" fmla="*/ 2098849 w 6789178"/>
              <a:gd name="connsiteY431" fmla="*/ 369606 h 1432704"/>
              <a:gd name="connsiteX432" fmla="*/ 2075989 w 6789178"/>
              <a:gd name="connsiteY432" fmla="*/ 392466 h 1432704"/>
              <a:gd name="connsiteX433" fmla="*/ 2053129 w 6789178"/>
              <a:gd name="connsiteY433" fmla="*/ 369606 h 1432704"/>
              <a:gd name="connsiteX434" fmla="*/ 2075989 w 6789178"/>
              <a:gd name="connsiteY434" fmla="*/ 346746 h 1432704"/>
              <a:gd name="connsiteX435" fmla="*/ 1889044 w 6789178"/>
              <a:gd name="connsiteY435" fmla="*/ 346746 h 1432704"/>
              <a:gd name="connsiteX436" fmla="*/ 1911904 w 6789178"/>
              <a:gd name="connsiteY436" fmla="*/ 369606 h 1432704"/>
              <a:gd name="connsiteX437" fmla="*/ 1889044 w 6789178"/>
              <a:gd name="connsiteY437" fmla="*/ 392466 h 1432704"/>
              <a:gd name="connsiteX438" fmla="*/ 1866184 w 6789178"/>
              <a:gd name="connsiteY438" fmla="*/ 369606 h 1432704"/>
              <a:gd name="connsiteX439" fmla="*/ 1889044 w 6789178"/>
              <a:gd name="connsiteY439" fmla="*/ 346746 h 1432704"/>
              <a:gd name="connsiteX440" fmla="*/ 1702099 w 6789178"/>
              <a:gd name="connsiteY440" fmla="*/ 346746 h 1432704"/>
              <a:gd name="connsiteX441" fmla="*/ 1724959 w 6789178"/>
              <a:gd name="connsiteY441" fmla="*/ 369606 h 1432704"/>
              <a:gd name="connsiteX442" fmla="*/ 1702099 w 6789178"/>
              <a:gd name="connsiteY442" fmla="*/ 392466 h 1432704"/>
              <a:gd name="connsiteX443" fmla="*/ 1679239 w 6789178"/>
              <a:gd name="connsiteY443" fmla="*/ 369606 h 1432704"/>
              <a:gd name="connsiteX444" fmla="*/ 1702099 w 6789178"/>
              <a:gd name="connsiteY444" fmla="*/ 346746 h 1432704"/>
              <a:gd name="connsiteX445" fmla="*/ 4880592 w 6789178"/>
              <a:gd name="connsiteY445" fmla="*/ 212127 h 1432704"/>
              <a:gd name="connsiteX446" fmla="*/ 4898807 w 6789178"/>
              <a:gd name="connsiteY446" fmla="*/ 218290 h 1432704"/>
              <a:gd name="connsiteX447" fmla="*/ 4896868 w 6789178"/>
              <a:gd name="connsiteY447" fmla="*/ 219093 h 1432704"/>
              <a:gd name="connsiteX448" fmla="*/ 4880704 w 6789178"/>
              <a:gd name="connsiteY448" fmla="*/ 212398 h 1432704"/>
              <a:gd name="connsiteX449" fmla="*/ 2088405 w 6789178"/>
              <a:gd name="connsiteY449" fmla="*/ 178516 h 1432704"/>
              <a:gd name="connsiteX450" fmla="*/ 2092154 w 6789178"/>
              <a:gd name="connsiteY450" fmla="*/ 180069 h 1432704"/>
              <a:gd name="connsiteX451" fmla="*/ 2098849 w 6789178"/>
              <a:gd name="connsiteY451" fmla="*/ 196233 h 1432704"/>
              <a:gd name="connsiteX452" fmla="*/ 2075989 w 6789178"/>
              <a:gd name="connsiteY452" fmla="*/ 219093 h 1432704"/>
              <a:gd name="connsiteX453" fmla="*/ 2053129 w 6789178"/>
              <a:gd name="connsiteY453" fmla="*/ 196233 h 1432704"/>
              <a:gd name="connsiteX454" fmla="*/ 2056744 w 6789178"/>
              <a:gd name="connsiteY454" fmla="*/ 187507 h 1432704"/>
              <a:gd name="connsiteX455" fmla="*/ 4709923 w 6789178"/>
              <a:gd name="connsiteY455" fmla="*/ 173373 h 1432704"/>
              <a:gd name="connsiteX456" fmla="*/ 4732783 w 6789178"/>
              <a:gd name="connsiteY456" fmla="*/ 196233 h 1432704"/>
              <a:gd name="connsiteX457" fmla="*/ 4709923 w 6789178"/>
              <a:gd name="connsiteY457" fmla="*/ 219093 h 1432704"/>
              <a:gd name="connsiteX458" fmla="*/ 4687063 w 6789178"/>
              <a:gd name="connsiteY458" fmla="*/ 196233 h 1432704"/>
              <a:gd name="connsiteX459" fmla="*/ 4709923 w 6789178"/>
              <a:gd name="connsiteY459" fmla="*/ 173373 h 1432704"/>
              <a:gd name="connsiteX460" fmla="*/ 4522978 w 6789178"/>
              <a:gd name="connsiteY460" fmla="*/ 173373 h 1432704"/>
              <a:gd name="connsiteX461" fmla="*/ 4545838 w 6789178"/>
              <a:gd name="connsiteY461" fmla="*/ 196233 h 1432704"/>
              <a:gd name="connsiteX462" fmla="*/ 4522978 w 6789178"/>
              <a:gd name="connsiteY462" fmla="*/ 219093 h 1432704"/>
              <a:gd name="connsiteX463" fmla="*/ 4500118 w 6789178"/>
              <a:gd name="connsiteY463" fmla="*/ 196233 h 1432704"/>
              <a:gd name="connsiteX464" fmla="*/ 4522978 w 6789178"/>
              <a:gd name="connsiteY464" fmla="*/ 173373 h 1432704"/>
              <a:gd name="connsiteX465" fmla="*/ 4336033 w 6789178"/>
              <a:gd name="connsiteY465" fmla="*/ 173373 h 1432704"/>
              <a:gd name="connsiteX466" fmla="*/ 4358893 w 6789178"/>
              <a:gd name="connsiteY466" fmla="*/ 196233 h 1432704"/>
              <a:gd name="connsiteX467" fmla="*/ 4336033 w 6789178"/>
              <a:gd name="connsiteY467" fmla="*/ 219093 h 1432704"/>
              <a:gd name="connsiteX468" fmla="*/ 4313173 w 6789178"/>
              <a:gd name="connsiteY468" fmla="*/ 196233 h 1432704"/>
              <a:gd name="connsiteX469" fmla="*/ 4336033 w 6789178"/>
              <a:gd name="connsiteY469" fmla="*/ 173373 h 1432704"/>
              <a:gd name="connsiteX470" fmla="*/ 4132393 w 6789178"/>
              <a:gd name="connsiteY470" fmla="*/ 173373 h 1432704"/>
              <a:gd name="connsiteX471" fmla="*/ 4155253 w 6789178"/>
              <a:gd name="connsiteY471" fmla="*/ 196233 h 1432704"/>
              <a:gd name="connsiteX472" fmla="*/ 4132393 w 6789178"/>
              <a:gd name="connsiteY472" fmla="*/ 219093 h 1432704"/>
              <a:gd name="connsiteX473" fmla="*/ 4109533 w 6789178"/>
              <a:gd name="connsiteY473" fmla="*/ 196233 h 1432704"/>
              <a:gd name="connsiteX474" fmla="*/ 4132393 w 6789178"/>
              <a:gd name="connsiteY474" fmla="*/ 173373 h 1432704"/>
              <a:gd name="connsiteX475" fmla="*/ 3945439 w 6789178"/>
              <a:gd name="connsiteY475" fmla="*/ 173373 h 1432704"/>
              <a:gd name="connsiteX476" fmla="*/ 3968299 w 6789178"/>
              <a:gd name="connsiteY476" fmla="*/ 196233 h 1432704"/>
              <a:gd name="connsiteX477" fmla="*/ 3945439 w 6789178"/>
              <a:gd name="connsiteY477" fmla="*/ 219093 h 1432704"/>
              <a:gd name="connsiteX478" fmla="*/ 3922579 w 6789178"/>
              <a:gd name="connsiteY478" fmla="*/ 196233 h 1432704"/>
              <a:gd name="connsiteX479" fmla="*/ 3945439 w 6789178"/>
              <a:gd name="connsiteY479" fmla="*/ 173373 h 1432704"/>
              <a:gd name="connsiteX480" fmla="*/ 3758494 w 6789178"/>
              <a:gd name="connsiteY480" fmla="*/ 173373 h 1432704"/>
              <a:gd name="connsiteX481" fmla="*/ 3781354 w 6789178"/>
              <a:gd name="connsiteY481" fmla="*/ 196233 h 1432704"/>
              <a:gd name="connsiteX482" fmla="*/ 3758494 w 6789178"/>
              <a:gd name="connsiteY482" fmla="*/ 219093 h 1432704"/>
              <a:gd name="connsiteX483" fmla="*/ 3735634 w 6789178"/>
              <a:gd name="connsiteY483" fmla="*/ 196233 h 1432704"/>
              <a:gd name="connsiteX484" fmla="*/ 3758494 w 6789178"/>
              <a:gd name="connsiteY484" fmla="*/ 173373 h 1432704"/>
              <a:gd name="connsiteX485" fmla="*/ 3571549 w 6789178"/>
              <a:gd name="connsiteY485" fmla="*/ 173373 h 1432704"/>
              <a:gd name="connsiteX486" fmla="*/ 3594409 w 6789178"/>
              <a:gd name="connsiteY486" fmla="*/ 196233 h 1432704"/>
              <a:gd name="connsiteX487" fmla="*/ 3571549 w 6789178"/>
              <a:gd name="connsiteY487" fmla="*/ 219093 h 1432704"/>
              <a:gd name="connsiteX488" fmla="*/ 3548689 w 6789178"/>
              <a:gd name="connsiteY488" fmla="*/ 196233 h 1432704"/>
              <a:gd name="connsiteX489" fmla="*/ 3571549 w 6789178"/>
              <a:gd name="connsiteY489" fmla="*/ 173373 h 1432704"/>
              <a:gd name="connsiteX490" fmla="*/ 3384604 w 6789178"/>
              <a:gd name="connsiteY490" fmla="*/ 173373 h 1432704"/>
              <a:gd name="connsiteX491" fmla="*/ 3407464 w 6789178"/>
              <a:gd name="connsiteY491" fmla="*/ 196233 h 1432704"/>
              <a:gd name="connsiteX492" fmla="*/ 3384604 w 6789178"/>
              <a:gd name="connsiteY492" fmla="*/ 219093 h 1432704"/>
              <a:gd name="connsiteX493" fmla="*/ 3361744 w 6789178"/>
              <a:gd name="connsiteY493" fmla="*/ 196233 h 1432704"/>
              <a:gd name="connsiteX494" fmla="*/ 3384604 w 6789178"/>
              <a:gd name="connsiteY494" fmla="*/ 173373 h 1432704"/>
              <a:gd name="connsiteX495" fmla="*/ 3197659 w 6789178"/>
              <a:gd name="connsiteY495" fmla="*/ 173373 h 1432704"/>
              <a:gd name="connsiteX496" fmla="*/ 3220519 w 6789178"/>
              <a:gd name="connsiteY496" fmla="*/ 196233 h 1432704"/>
              <a:gd name="connsiteX497" fmla="*/ 3197659 w 6789178"/>
              <a:gd name="connsiteY497" fmla="*/ 219093 h 1432704"/>
              <a:gd name="connsiteX498" fmla="*/ 3174799 w 6789178"/>
              <a:gd name="connsiteY498" fmla="*/ 196233 h 1432704"/>
              <a:gd name="connsiteX499" fmla="*/ 3197659 w 6789178"/>
              <a:gd name="connsiteY499" fmla="*/ 173373 h 1432704"/>
              <a:gd name="connsiteX500" fmla="*/ 3010714 w 6789178"/>
              <a:gd name="connsiteY500" fmla="*/ 173373 h 1432704"/>
              <a:gd name="connsiteX501" fmla="*/ 3033574 w 6789178"/>
              <a:gd name="connsiteY501" fmla="*/ 196233 h 1432704"/>
              <a:gd name="connsiteX502" fmla="*/ 3010714 w 6789178"/>
              <a:gd name="connsiteY502" fmla="*/ 219093 h 1432704"/>
              <a:gd name="connsiteX503" fmla="*/ 2987854 w 6789178"/>
              <a:gd name="connsiteY503" fmla="*/ 196233 h 1432704"/>
              <a:gd name="connsiteX504" fmla="*/ 3010714 w 6789178"/>
              <a:gd name="connsiteY504" fmla="*/ 173373 h 1432704"/>
              <a:gd name="connsiteX505" fmla="*/ 2823769 w 6789178"/>
              <a:gd name="connsiteY505" fmla="*/ 173373 h 1432704"/>
              <a:gd name="connsiteX506" fmla="*/ 2846629 w 6789178"/>
              <a:gd name="connsiteY506" fmla="*/ 196233 h 1432704"/>
              <a:gd name="connsiteX507" fmla="*/ 2823769 w 6789178"/>
              <a:gd name="connsiteY507" fmla="*/ 219093 h 1432704"/>
              <a:gd name="connsiteX508" fmla="*/ 2800909 w 6789178"/>
              <a:gd name="connsiteY508" fmla="*/ 196233 h 1432704"/>
              <a:gd name="connsiteX509" fmla="*/ 2823769 w 6789178"/>
              <a:gd name="connsiteY509" fmla="*/ 173373 h 1432704"/>
              <a:gd name="connsiteX510" fmla="*/ 2636824 w 6789178"/>
              <a:gd name="connsiteY510" fmla="*/ 173373 h 1432704"/>
              <a:gd name="connsiteX511" fmla="*/ 2659684 w 6789178"/>
              <a:gd name="connsiteY511" fmla="*/ 196233 h 1432704"/>
              <a:gd name="connsiteX512" fmla="*/ 2636824 w 6789178"/>
              <a:gd name="connsiteY512" fmla="*/ 219093 h 1432704"/>
              <a:gd name="connsiteX513" fmla="*/ 2613964 w 6789178"/>
              <a:gd name="connsiteY513" fmla="*/ 196233 h 1432704"/>
              <a:gd name="connsiteX514" fmla="*/ 2636824 w 6789178"/>
              <a:gd name="connsiteY514" fmla="*/ 173373 h 1432704"/>
              <a:gd name="connsiteX515" fmla="*/ 2449879 w 6789178"/>
              <a:gd name="connsiteY515" fmla="*/ 173373 h 1432704"/>
              <a:gd name="connsiteX516" fmla="*/ 2472739 w 6789178"/>
              <a:gd name="connsiteY516" fmla="*/ 196233 h 1432704"/>
              <a:gd name="connsiteX517" fmla="*/ 2449879 w 6789178"/>
              <a:gd name="connsiteY517" fmla="*/ 219093 h 1432704"/>
              <a:gd name="connsiteX518" fmla="*/ 2427019 w 6789178"/>
              <a:gd name="connsiteY518" fmla="*/ 196233 h 1432704"/>
              <a:gd name="connsiteX519" fmla="*/ 2449879 w 6789178"/>
              <a:gd name="connsiteY519" fmla="*/ 173373 h 1432704"/>
              <a:gd name="connsiteX520" fmla="*/ 2262934 w 6789178"/>
              <a:gd name="connsiteY520" fmla="*/ 173373 h 1432704"/>
              <a:gd name="connsiteX521" fmla="*/ 2285794 w 6789178"/>
              <a:gd name="connsiteY521" fmla="*/ 196233 h 1432704"/>
              <a:gd name="connsiteX522" fmla="*/ 2262934 w 6789178"/>
              <a:gd name="connsiteY522" fmla="*/ 219093 h 1432704"/>
              <a:gd name="connsiteX523" fmla="*/ 2240074 w 6789178"/>
              <a:gd name="connsiteY523" fmla="*/ 196233 h 1432704"/>
              <a:gd name="connsiteX524" fmla="*/ 2262934 w 6789178"/>
              <a:gd name="connsiteY524" fmla="*/ 173373 h 1432704"/>
              <a:gd name="connsiteX525" fmla="*/ 4116095 w 6789178"/>
              <a:gd name="connsiteY525" fmla="*/ 38700 h 1432704"/>
              <a:gd name="connsiteX526" fmla="*/ 4141536 w 6789178"/>
              <a:gd name="connsiteY526" fmla="*/ 41933 h 1432704"/>
              <a:gd name="connsiteX527" fmla="*/ 4132393 w 6789178"/>
              <a:gd name="connsiteY527" fmla="*/ 45720 h 1432704"/>
              <a:gd name="connsiteX528" fmla="*/ 4116229 w 6789178"/>
              <a:gd name="connsiteY528" fmla="*/ 39025 h 1432704"/>
              <a:gd name="connsiteX529" fmla="*/ 2845735 w 6789178"/>
              <a:gd name="connsiteY529" fmla="*/ 25019 h 1432704"/>
              <a:gd name="connsiteX530" fmla="*/ 2839934 w 6789178"/>
              <a:gd name="connsiteY530" fmla="*/ 39025 h 1432704"/>
              <a:gd name="connsiteX531" fmla="*/ 2823769 w 6789178"/>
              <a:gd name="connsiteY531" fmla="*/ 45720 h 1432704"/>
              <a:gd name="connsiteX532" fmla="*/ 2807605 w 6789178"/>
              <a:gd name="connsiteY532" fmla="*/ 39025 h 1432704"/>
              <a:gd name="connsiteX533" fmla="*/ 2804000 w 6789178"/>
              <a:gd name="connsiteY533" fmla="*/ 30322 h 1432704"/>
              <a:gd name="connsiteX534" fmla="*/ 3926023 w 6789178"/>
              <a:gd name="connsiteY534" fmla="*/ 14548 h 1432704"/>
              <a:gd name="connsiteX535" fmla="*/ 3967014 w 6789178"/>
              <a:gd name="connsiteY535" fmla="*/ 19757 h 1432704"/>
              <a:gd name="connsiteX536" fmla="*/ 3968299 w 6789178"/>
              <a:gd name="connsiteY536" fmla="*/ 22860 h 1432704"/>
              <a:gd name="connsiteX537" fmla="*/ 3945439 w 6789178"/>
              <a:gd name="connsiteY537" fmla="*/ 45720 h 1432704"/>
              <a:gd name="connsiteX538" fmla="*/ 3922579 w 6789178"/>
              <a:gd name="connsiteY538" fmla="*/ 22860 h 1432704"/>
              <a:gd name="connsiteX539" fmla="*/ 3026904 w 6789178"/>
              <a:gd name="connsiteY539" fmla="*/ 6756 h 1432704"/>
              <a:gd name="connsiteX540" fmla="*/ 3033574 w 6789178"/>
              <a:gd name="connsiteY540" fmla="*/ 22860 h 1432704"/>
              <a:gd name="connsiteX541" fmla="*/ 3010714 w 6789178"/>
              <a:gd name="connsiteY541" fmla="*/ 45720 h 1432704"/>
              <a:gd name="connsiteX542" fmla="*/ 2987854 w 6789178"/>
              <a:gd name="connsiteY542" fmla="*/ 22860 h 1432704"/>
              <a:gd name="connsiteX543" fmla="*/ 2993472 w 6789178"/>
              <a:gd name="connsiteY543" fmla="*/ 9298 h 1432704"/>
              <a:gd name="connsiteX544" fmla="*/ 3755379 w 6789178"/>
              <a:gd name="connsiteY544" fmla="*/ 1291 h 1432704"/>
              <a:gd name="connsiteX545" fmla="*/ 3763010 w 6789178"/>
              <a:gd name="connsiteY545" fmla="*/ 1871 h 1432704"/>
              <a:gd name="connsiteX546" fmla="*/ 3774659 w 6789178"/>
              <a:gd name="connsiteY546" fmla="*/ 6696 h 1432704"/>
              <a:gd name="connsiteX547" fmla="*/ 3781354 w 6789178"/>
              <a:gd name="connsiteY547" fmla="*/ 22860 h 1432704"/>
              <a:gd name="connsiteX548" fmla="*/ 3758494 w 6789178"/>
              <a:gd name="connsiteY548" fmla="*/ 45720 h 1432704"/>
              <a:gd name="connsiteX549" fmla="*/ 3735634 w 6789178"/>
              <a:gd name="connsiteY549" fmla="*/ 22860 h 1432704"/>
              <a:gd name="connsiteX550" fmla="*/ 3742330 w 6789178"/>
              <a:gd name="connsiteY550" fmla="*/ 6696 h 1432704"/>
              <a:gd name="connsiteX551" fmla="*/ 3571549 w 6789178"/>
              <a:gd name="connsiteY551" fmla="*/ 0 h 1432704"/>
              <a:gd name="connsiteX552" fmla="*/ 3594409 w 6789178"/>
              <a:gd name="connsiteY552" fmla="*/ 22860 h 1432704"/>
              <a:gd name="connsiteX553" fmla="*/ 3571549 w 6789178"/>
              <a:gd name="connsiteY553" fmla="*/ 45720 h 1432704"/>
              <a:gd name="connsiteX554" fmla="*/ 3548689 w 6789178"/>
              <a:gd name="connsiteY554" fmla="*/ 22860 h 1432704"/>
              <a:gd name="connsiteX555" fmla="*/ 3571549 w 6789178"/>
              <a:gd name="connsiteY555" fmla="*/ 0 h 1432704"/>
              <a:gd name="connsiteX556" fmla="*/ 3384604 w 6789178"/>
              <a:gd name="connsiteY556" fmla="*/ 0 h 1432704"/>
              <a:gd name="connsiteX557" fmla="*/ 3407464 w 6789178"/>
              <a:gd name="connsiteY557" fmla="*/ 22860 h 1432704"/>
              <a:gd name="connsiteX558" fmla="*/ 3384604 w 6789178"/>
              <a:gd name="connsiteY558" fmla="*/ 45720 h 1432704"/>
              <a:gd name="connsiteX559" fmla="*/ 3361744 w 6789178"/>
              <a:gd name="connsiteY559" fmla="*/ 22860 h 1432704"/>
              <a:gd name="connsiteX560" fmla="*/ 3384604 w 6789178"/>
              <a:gd name="connsiteY560" fmla="*/ 0 h 1432704"/>
              <a:gd name="connsiteX561" fmla="*/ 3197659 w 6789178"/>
              <a:gd name="connsiteY561" fmla="*/ 0 h 1432704"/>
              <a:gd name="connsiteX562" fmla="*/ 3220519 w 6789178"/>
              <a:gd name="connsiteY562" fmla="*/ 22860 h 1432704"/>
              <a:gd name="connsiteX563" fmla="*/ 3197659 w 6789178"/>
              <a:gd name="connsiteY563" fmla="*/ 45720 h 1432704"/>
              <a:gd name="connsiteX564" fmla="*/ 3174799 w 6789178"/>
              <a:gd name="connsiteY564" fmla="*/ 22860 h 1432704"/>
              <a:gd name="connsiteX565" fmla="*/ 3197659 w 6789178"/>
              <a:gd name="connsiteY565" fmla="*/ 0 h 1432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</a:cxnLst>
            <a:rect l="l" t="t" r="r" b="b"/>
            <a:pathLst>
              <a:path w="6789178" h="1432704">
                <a:moveTo>
                  <a:pt x="27397" y="1390216"/>
                </a:moveTo>
                <a:lnTo>
                  <a:pt x="35759" y="1393680"/>
                </a:lnTo>
                <a:cubicBezTo>
                  <a:pt x="39896" y="1397817"/>
                  <a:pt x="42454" y="1403532"/>
                  <a:pt x="42454" y="1409844"/>
                </a:cubicBezTo>
                <a:cubicBezTo>
                  <a:pt x="42454" y="1422469"/>
                  <a:pt x="32219" y="1432704"/>
                  <a:pt x="19594" y="1432704"/>
                </a:cubicBezTo>
                <a:cubicBezTo>
                  <a:pt x="13282" y="1432704"/>
                  <a:pt x="7567" y="1430145"/>
                  <a:pt x="3430" y="1426009"/>
                </a:cubicBezTo>
                <a:lnTo>
                  <a:pt x="0" y="1417729"/>
                </a:lnTo>
                <a:lnTo>
                  <a:pt x="14582" y="1402434"/>
                </a:lnTo>
                <a:close/>
                <a:moveTo>
                  <a:pt x="6766318" y="1386984"/>
                </a:moveTo>
                <a:cubicBezTo>
                  <a:pt x="6778943" y="1386984"/>
                  <a:pt x="6789178" y="1397219"/>
                  <a:pt x="6789178" y="1409844"/>
                </a:cubicBezTo>
                <a:cubicBezTo>
                  <a:pt x="6789178" y="1422469"/>
                  <a:pt x="6778943" y="1432704"/>
                  <a:pt x="6766318" y="1432704"/>
                </a:cubicBezTo>
                <a:cubicBezTo>
                  <a:pt x="6753693" y="1432704"/>
                  <a:pt x="6743458" y="1422469"/>
                  <a:pt x="6743458" y="1409844"/>
                </a:cubicBezTo>
                <a:cubicBezTo>
                  <a:pt x="6743458" y="1397219"/>
                  <a:pt x="6753693" y="1386984"/>
                  <a:pt x="6766318" y="1386984"/>
                </a:cubicBezTo>
                <a:close/>
                <a:moveTo>
                  <a:pt x="6579373" y="1386984"/>
                </a:moveTo>
                <a:cubicBezTo>
                  <a:pt x="6591998" y="1386984"/>
                  <a:pt x="6602233" y="1397219"/>
                  <a:pt x="6602233" y="1409844"/>
                </a:cubicBezTo>
                <a:cubicBezTo>
                  <a:pt x="6602233" y="1422469"/>
                  <a:pt x="6591998" y="1432704"/>
                  <a:pt x="6579373" y="1432704"/>
                </a:cubicBezTo>
                <a:cubicBezTo>
                  <a:pt x="6566748" y="1432704"/>
                  <a:pt x="6556513" y="1422469"/>
                  <a:pt x="6556513" y="1409844"/>
                </a:cubicBezTo>
                <a:cubicBezTo>
                  <a:pt x="6556513" y="1397219"/>
                  <a:pt x="6566748" y="1386984"/>
                  <a:pt x="6579373" y="1386984"/>
                </a:cubicBezTo>
                <a:close/>
                <a:moveTo>
                  <a:pt x="6392428" y="1386984"/>
                </a:moveTo>
                <a:cubicBezTo>
                  <a:pt x="6405053" y="1386984"/>
                  <a:pt x="6415288" y="1397219"/>
                  <a:pt x="6415288" y="1409844"/>
                </a:cubicBezTo>
                <a:cubicBezTo>
                  <a:pt x="6415288" y="1422469"/>
                  <a:pt x="6405053" y="1432704"/>
                  <a:pt x="6392428" y="1432704"/>
                </a:cubicBezTo>
                <a:cubicBezTo>
                  <a:pt x="6379803" y="1432704"/>
                  <a:pt x="6369568" y="1422469"/>
                  <a:pt x="6369568" y="1409844"/>
                </a:cubicBezTo>
                <a:cubicBezTo>
                  <a:pt x="6369568" y="1397219"/>
                  <a:pt x="6379803" y="1386984"/>
                  <a:pt x="6392428" y="1386984"/>
                </a:cubicBezTo>
                <a:close/>
                <a:moveTo>
                  <a:pt x="6205483" y="1386984"/>
                </a:moveTo>
                <a:cubicBezTo>
                  <a:pt x="6218108" y="1386984"/>
                  <a:pt x="6228343" y="1397219"/>
                  <a:pt x="6228343" y="1409844"/>
                </a:cubicBezTo>
                <a:cubicBezTo>
                  <a:pt x="6228343" y="1422469"/>
                  <a:pt x="6218108" y="1432704"/>
                  <a:pt x="6205483" y="1432704"/>
                </a:cubicBezTo>
                <a:cubicBezTo>
                  <a:pt x="6192858" y="1432704"/>
                  <a:pt x="6182623" y="1422469"/>
                  <a:pt x="6182623" y="1409844"/>
                </a:cubicBezTo>
                <a:cubicBezTo>
                  <a:pt x="6182623" y="1397219"/>
                  <a:pt x="6192858" y="1386984"/>
                  <a:pt x="6205483" y="1386984"/>
                </a:cubicBezTo>
                <a:close/>
                <a:moveTo>
                  <a:pt x="580429" y="1386984"/>
                </a:moveTo>
                <a:cubicBezTo>
                  <a:pt x="593054" y="1386984"/>
                  <a:pt x="603289" y="1397219"/>
                  <a:pt x="603289" y="1409844"/>
                </a:cubicBezTo>
                <a:cubicBezTo>
                  <a:pt x="603289" y="1422469"/>
                  <a:pt x="593054" y="1432704"/>
                  <a:pt x="580429" y="1432704"/>
                </a:cubicBezTo>
                <a:cubicBezTo>
                  <a:pt x="567804" y="1432704"/>
                  <a:pt x="557569" y="1422469"/>
                  <a:pt x="557569" y="1409844"/>
                </a:cubicBezTo>
                <a:cubicBezTo>
                  <a:pt x="557569" y="1397219"/>
                  <a:pt x="567804" y="1386984"/>
                  <a:pt x="580429" y="1386984"/>
                </a:cubicBezTo>
                <a:close/>
                <a:moveTo>
                  <a:pt x="393484" y="1386984"/>
                </a:moveTo>
                <a:cubicBezTo>
                  <a:pt x="406109" y="1386984"/>
                  <a:pt x="416344" y="1397219"/>
                  <a:pt x="416344" y="1409844"/>
                </a:cubicBezTo>
                <a:cubicBezTo>
                  <a:pt x="416344" y="1422469"/>
                  <a:pt x="406109" y="1432704"/>
                  <a:pt x="393484" y="1432704"/>
                </a:cubicBezTo>
                <a:cubicBezTo>
                  <a:pt x="380859" y="1432704"/>
                  <a:pt x="370624" y="1422469"/>
                  <a:pt x="370624" y="1409844"/>
                </a:cubicBezTo>
                <a:cubicBezTo>
                  <a:pt x="370624" y="1397219"/>
                  <a:pt x="380859" y="1386984"/>
                  <a:pt x="393484" y="1386984"/>
                </a:cubicBezTo>
                <a:close/>
                <a:moveTo>
                  <a:pt x="206539" y="1386984"/>
                </a:moveTo>
                <a:cubicBezTo>
                  <a:pt x="219164" y="1386984"/>
                  <a:pt x="229399" y="1397219"/>
                  <a:pt x="229399" y="1409844"/>
                </a:cubicBezTo>
                <a:cubicBezTo>
                  <a:pt x="229399" y="1422469"/>
                  <a:pt x="219164" y="1432704"/>
                  <a:pt x="206539" y="1432704"/>
                </a:cubicBezTo>
                <a:cubicBezTo>
                  <a:pt x="193914" y="1432704"/>
                  <a:pt x="183679" y="1422469"/>
                  <a:pt x="183679" y="1409844"/>
                </a:cubicBezTo>
                <a:cubicBezTo>
                  <a:pt x="183679" y="1397219"/>
                  <a:pt x="193914" y="1386984"/>
                  <a:pt x="206539" y="1386984"/>
                </a:cubicBezTo>
                <a:close/>
                <a:moveTo>
                  <a:pt x="212734" y="1216177"/>
                </a:moveTo>
                <a:lnTo>
                  <a:pt x="222704" y="1220307"/>
                </a:lnTo>
                <a:cubicBezTo>
                  <a:pt x="226841" y="1224444"/>
                  <a:pt x="229399" y="1230159"/>
                  <a:pt x="229399" y="1236471"/>
                </a:cubicBezTo>
                <a:cubicBezTo>
                  <a:pt x="229399" y="1249096"/>
                  <a:pt x="219164" y="1259331"/>
                  <a:pt x="206539" y="1259331"/>
                </a:cubicBezTo>
                <a:cubicBezTo>
                  <a:pt x="200227" y="1259331"/>
                  <a:pt x="194512" y="1256773"/>
                  <a:pt x="190375" y="1252636"/>
                </a:cubicBezTo>
                <a:lnTo>
                  <a:pt x="185165" y="1240059"/>
                </a:lnTo>
                <a:close/>
                <a:moveTo>
                  <a:pt x="950606" y="1215149"/>
                </a:moveTo>
                <a:lnTo>
                  <a:pt x="935662" y="1226324"/>
                </a:lnTo>
                <a:lnTo>
                  <a:pt x="938155" y="1220307"/>
                </a:lnTo>
                <a:close/>
                <a:moveTo>
                  <a:pt x="6579373" y="1213611"/>
                </a:moveTo>
                <a:cubicBezTo>
                  <a:pt x="6591998" y="1213611"/>
                  <a:pt x="6602233" y="1223846"/>
                  <a:pt x="6602233" y="1236471"/>
                </a:cubicBezTo>
                <a:cubicBezTo>
                  <a:pt x="6602233" y="1249096"/>
                  <a:pt x="6591998" y="1259331"/>
                  <a:pt x="6579373" y="1259331"/>
                </a:cubicBezTo>
                <a:cubicBezTo>
                  <a:pt x="6566748" y="1259331"/>
                  <a:pt x="6556513" y="1249096"/>
                  <a:pt x="6556513" y="1236471"/>
                </a:cubicBezTo>
                <a:cubicBezTo>
                  <a:pt x="6556513" y="1223846"/>
                  <a:pt x="6566748" y="1213611"/>
                  <a:pt x="6579373" y="1213611"/>
                </a:cubicBezTo>
                <a:close/>
                <a:moveTo>
                  <a:pt x="6392428" y="1213611"/>
                </a:moveTo>
                <a:cubicBezTo>
                  <a:pt x="6405053" y="1213611"/>
                  <a:pt x="6415288" y="1223846"/>
                  <a:pt x="6415288" y="1236471"/>
                </a:cubicBezTo>
                <a:cubicBezTo>
                  <a:pt x="6415288" y="1249096"/>
                  <a:pt x="6405053" y="1259331"/>
                  <a:pt x="6392428" y="1259331"/>
                </a:cubicBezTo>
                <a:cubicBezTo>
                  <a:pt x="6379803" y="1259331"/>
                  <a:pt x="6369568" y="1249096"/>
                  <a:pt x="6369568" y="1236471"/>
                </a:cubicBezTo>
                <a:cubicBezTo>
                  <a:pt x="6369568" y="1223846"/>
                  <a:pt x="6379803" y="1213611"/>
                  <a:pt x="6392428" y="1213611"/>
                </a:cubicBezTo>
                <a:close/>
                <a:moveTo>
                  <a:pt x="6205483" y="1213611"/>
                </a:moveTo>
                <a:cubicBezTo>
                  <a:pt x="6218108" y="1213611"/>
                  <a:pt x="6228343" y="1223846"/>
                  <a:pt x="6228343" y="1236471"/>
                </a:cubicBezTo>
                <a:cubicBezTo>
                  <a:pt x="6228343" y="1249096"/>
                  <a:pt x="6218108" y="1259331"/>
                  <a:pt x="6205483" y="1259331"/>
                </a:cubicBezTo>
                <a:cubicBezTo>
                  <a:pt x="6192858" y="1259331"/>
                  <a:pt x="6182623" y="1249096"/>
                  <a:pt x="6182623" y="1236471"/>
                </a:cubicBezTo>
                <a:cubicBezTo>
                  <a:pt x="6182623" y="1223846"/>
                  <a:pt x="6192858" y="1213611"/>
                  <a:pt x="6205483" y="1213611"/>
                </a:cubicBezTo>
                <a:close/>
                <a:moveTo>
                  <a:pt x="6018538" y="1213611"/>
                </a:moveTo>
                <a:cubicBezTo>
                  <a:pt x="6031163" y="1213611"/>
                  <a:pt x="6041398" y="1223846"/>
                  <a:pt x="6041398" y="1236471"/>
                </a:cubicBezTo>
                <a:cubicBezTo>
                  <a:pt x="6041398" y="1249096"/>
                  <a:pt x="6031163" y="1259331"/>
                  <a:pt x="6018538" y="1259331"/>
                </a:cubicBezTo>
                <a:cubicBezTo>
                  <a:pt x="6005913" y="1259331"/>
                  <a:pt x="5995678" y="1249096"/>
                  <a:pt x="5995678" y="1236471"/>
                </a:cubicBezTo>
                <a:cubicBezTo>
                  <a:pt x="5995678" y="1223846"/>
                  <a:pt x="6005913" y="1213611"/>
                  <a:pt x="6018538" y="1213611"/>
                </a:cubicBezTo>
                <a:close/>
                <a:moveTo>
                  <a:pt x="767374" y="1213611"/>
                </a:moveTo>
                <a:cubicBezTo>
                  <a:pt x="779999" y="1213611"/>
                  <a:pt x="790234" y="1223846"/>
                  <a:pt x="790234" y="1236471"/>
                </a:cubicBezTo>
                <a:cubicBezTo>
                  <a:pt x="790234" y="1249096"/>
                  <a:pt x="779999" y="1259331"/>
                  <a:pt x="767374" y="1259331"/>
                </a:cubicBezTo>
                <a:cubicBezTo>
                  <a:pt x="754749" y="1259331"/>
                  <a:pt x="744514" y="1249096"/>
                  <a:pt x="744514" y="1236471"/>
                </a:cubicBezTo>
                <a:cubicBezTo>
                  <a:pt x="744514" y="1223846"/>
                  <a:pt x="754749" y="1213611"/>
                  <a:pt x="767374" y="1213611"/>
                </a:cubicBezTo>
                <a:close/>
                <a:moveTo>
                  <a:pt x="580429" y="1213611"/>
                </a:moveTo>
                <a:cubicBezTo>
                  <a:pt x="593054" y="1213611"/>
                  <a:pt x="603289" y="1223846"/>
                  <a:pt x="603289" y="1236471"/>
                </a:cubicBezTo>
                <a:cubicBezTo>
                  <a:pt x="603289" y="1249096"/>
                  <a:pt x="593054" y="1259331"/>
                  <a:pt x="580429" y="1259331"/>
                </a:cubicBezTo>
                <a:cubicBezTo>
                  <a:pt x="567804" y="1259331"/>
                  <a:pt x="557569" y="1249096"/>
                  <a:pt x="557569" y="1236471"/>
                </a:cubicBezTo>
                <a:cubicBezTo>
                  <a:pt x="557569" y="1223846"/>
                  <a:pt x="567804" y="1213611"/>
                  <a:pt x="580429" y="1213611"/>
                </a:cubicBezTo>
                <a:close/>
                <a:moveTo>
                  <a:pt x="393484" y="1213611"/>
                </a:moveTo>
                <a:cubicBezTo>
                  <a:pt x="406109" y="1213611"/>
                  <a:pt x="416344" y="1223846"/>
                  <a:pt x="416344" y="1236471"/>
                </a:cubicBezTo>
                <a:cubicBezTo>
                  <a:pt x="416344" y="1249096"/>
                  <a:pt x="406109" y="1259331"/>
                  <a:pt x="393484" y="1259331"/>
                </a:cubicBezTo>
                <a:cubicBezTo>
                  <a:pt x="380859" y="1259331"/>
                  <a:pt x="370624" y="1249096"/>
                  <a:pt x="370624" y="1236471"/>
                </a:cubicBezTo>
                <a:cubicBezTo>
                  <a:pt x="370624" y="1223846"/>
                  <a:pt x="380859" y="1213611"/>
                  <a:pt x="393484" y="1213611"/>
                </a:cubicBezTo>
                <a:close/>
                <a:moveTo>
                  <a:pt x="410549" y="1049107"/>
                </a:moveTo>
                <a:lnTo>
                  <a:pt x="416344" y="1063098"/>
                </a:lnTo>
                <a:cubicBezTo>
                  <a:pt x="416344" y="1075723"/>
                  <a:pt x="406109" y="1085958"/>
                  <a:pt x="393484" y="1085958"/>
                </a:cubicBezTo>
                <a:cubicBezTo>
                  <a:pt x="387172" y="1085958"/>
                  <a:pt x="381457" y="1083399"/>
                  <a:pt x="377320" y="1079263"/>
                </a:cubicBezTo>
                <a:lnTo>
                  <a:pt x="376056" y="1076212"/>
                </a:lnTo>
                <a:close/>
                <a:moveTo>
                  <a:pt x="6392428" y="1040238"/>
                </a:moveTo>
                <a:cubicBezTo>
                  <a:pt x="6405053" y="1040238"/>
                  <a:pt x="6415288" y="1050473"/>
                  <a:pt x="6415288" y="1063098"/>
                </a:cubicBezTo>
                <a:cubicBezTo>
                  <a:pt x="6415288" y="1075723"/>
                  <a:pt x="6405053" y="1085958"/>
                  <a:pt x="6392428" y="1085958"/>
                </a:cubicBezTo>
                <a:cubicBezTo>
                  <a:pt x="6379803" y="1085958"/>
                  <a:pt x="6369568" y="1075723"/>
                  <a:pt x="6369568" y="1063098"/>
                </a:cubicBezTo>
                <a:cubicBezTo>
                  <a:pt x="6369568" y="1050473"/>
                  <a:pt x="6379803" y="1040238"/>
                  <a:pt x="6392428" y="1040238"/>
                </a:cubicBezTo>
                <a:close/>
                <a:moveTo>
                  <a:pt x="6205483" y="1040238"/>
                </a:moveTo>
                <a:cubicBezTo>
                  <a:pt x="6218108" y="1040238"/>
                  <a:pt x="6228343" y="1050473"/>
                  <a:pt x="6228343" y="1063098"/>
                </a:cubicBezTo>
                <a:cubicBezTo>
                  <a:pt x="6228343" y="1075723"/>
                  <a:pt x="6218108" y="1085958"/>
                  <a:pt x="6205483" y="1085958"/>
                </a:cubicBezTo>
                <a:cubicBezTo>
                  <a:pt x="6192858" y="1085958"/>
                  <a:pt x="6182623" y="1075723"/>
                  <a:pt x="6182623" y="1063098"/>
                </a:cubicBezTo>
                <a:cubicBezTo>
                  <a:pt x="6182623" y="1050473"/>
                  <a:pt x="6192858" y="1040238"/>
                  <a:pt x="6205483" y="1040238"/>
                </a:cubicBezTo>
                <a:close/>
                <a:moveTo>
                  <a:pt x="6018538" y="1040238"/>
                </a:moveTo>
                <a:cubicBezTo>
                  <a:pt x="6031163" y="1040238"/>
                  <a:pt x="6041398" y="1050473"/>
                  <a:pt x="6041398" y="1063098"/>
                </a:cubicBezTo>
                <a:cubicBezTo>
                  <a:pt x="6041398" y="1075723"/>
                  <a:pt x="6031163" y="1085958"/>
                  <a:pt x="6018538" y="1085958"/>
                </a:cubicBezTo>
                <a:cubicBezTo>
                  <a:pt x="6005913" y="1085958"/>
                  <a:pt x="5995678" y="1075723"/>
                  <a:pt x="5995678" y="1063098"/>
                </a:cubicBezTo>
                <a:cubicBezTo>
                  <a:pt x="5995678" y="1050473"/>
                  <a:pt x="6005913" y="1040238"/>
                  <a:pt x="6018538" y="1040238"/>
                </a:cubicBezTo>
                <a:close/>
                <a:moveTo>
                  <a:pt x="5831593" y="1040238"/>
                </a:moveTo>
                <a:cubicBezTo>
                  <a:pt x="5844218" y="1040238"/>
                  <a:pt x="5854453" y="1050473"/>
                  <a:pt x="5854453" y="1063098"/>
                </a:cubicBezTo>
                <a:cubicBezTo>
                  <a:pt x="5854453" y="1075723"/>
                  <a:pt x="5844218" y="1085958"/>
                  <a:pt x="5831593" y="1085958"/>
                </a:cubicBezTo>
                <a:cubicBezTo>
                  <a:pt x="5818968" y="1085958"/>
                  <a:pt x="5808733" y="1075723"/>
                  <a:pt x="5808733" y="1063098"/>
                </a:cubicBezTo>
                <a:cubicBezTo>
                  <a:pt x="5808733" y="1050473"/>
                  <a:pt x="5818968" y="1040238"/>
                  <a:pt x="5831593" y="1040238"/>
                </a:cubicBezTo>
                <a:close/>
                <a:moveTo>
                  <a:pt x="5644648" y="1040238"/>
                </a:moveTo>
                <a:cubicBezTo>
                  <a:pt x="5657273" y="1040238"/>
                  <a:pt x="5667508" y="1050473"/>
                  <a:pt x="5667508" y="1063098"/>
                </a:cubicBezTo>
                <a:lnTo>
                  <a:pt x="5666177" y="1066311"/>
                </a:lnTo>
                <a:lnTo>
                  <a:pt x="5632481" y="1045278"/>
                </a:lnTo>
                <a:close/>
                <a:moveTo>
                  <a:pt x="1141264" y="1040238"/>
                </a:moveTo>
                <a:cubicBezTo>
                  <a:pt x="1153889" y="1040238"/>
                  <a:pt x="1164124" y="1050473"/>
                  <a:pt x="1164124" y="1063098"/>
                </a:cubicBezTo>
                <a:cubicBezTo>
                  <a:pt x="1164124" y="1075723"/>
                  <a:pt x="1153889" y="1085958"/>
                  <a:pt x="1141264" y="1085958"/>
                </a:cubicBezTo>
                <a:cubicBezTo>
                  <a:pt x="1128639" y="1085958"/>
                  <a:pt x="1118404" y="1075723"/>
                  <a:pt x="1118404" y="1063098"/>
                </a:cubicBezTo>
                <a:cubicBezTo>
                  <a:pt x="1118404" y="1050473"/>
                  <a:pt x="1128639" y="1040238"/>
                  <a:pt x="1141264" y="1040238"/>
                </a:cubicBezTo>
                <a:close/>
                <a:moveTo>
                  <a:pt x="954319" y="1040238"/>
                </a:moveTo>
                <a:cubicBezTo>
                  <a:pt x="966944" y="1040238"/>
                  <a:pt x="977179" y="1050473"/>
                  <a:pt x="977179" y="1063098"/>
                </a:cubicBezTo>
                <a:cubicBezTo>
                  <a:pt x="977179" y="1075723"/>
                  <a:pt x="966944" y="1085958"/>
                  <a:pt x="954319" y="1085958"/>
                </a:cubicBezTo>
                <a:cubicBezTo>
                  <a:pt x="941694" y="1085958"/>
                  <a:pt x="931459" y="1075723"/>
                  <a:pt x="931459" y="1063098"/>
                </a:cubicBezTo>
                <a:cubicBezTo>
                  <a:pt x="931459" y="1050473"/>
                  <a:pt x="941694" y="1040238"/>
                  <a:pt x="954319" y="1040238"/>
                </a:cubicBezTo>
                <a:close/>
                <a:moveTo>
                  <a:pt x="767374" y="1040238"/>
                </a:moveTo>
                <a:cubicBezTo>
                  <a:pt x="779999" y="1040238"/>
                  <a:pt x="790234" y="1050473"/>
                  <a:pt x="790234" y="1063098"/>
                </a:cubicBezTo>
                <a:cubicBezTo>
                  <a:pt x="790234" y="1075723"/>
                  <a:pt x="779999" y="1085958"/>
                  <a:pt x="767374" y="1085958"/>
                </a:cubicBezTo>
                <a:cubicBezTo>
                  <a:pt x="754749" y="1085958"/>
                  <a:pt x="744514" y="1075723"/>
                  <a:pt x="744514" y="1063098"/>
                </a:cubicBezTo>
                <a:cubicBezTo>
                  <a:pt x="744514" y="1050473"/>
                  <a:pt x="754749" y="1040238"/>
                  <a:pt x="767374" y="1040238"/>
                </a:cubicBezTo>
                <a:close/>
                <a:moveTo>
                  <a:pt x="580429" y="1040238"/>
                </a:moveTo>
                <a:cubicBezTo>
                  <a:pt x="593054" y="1040238"/>
                  <a:pt x="603289" y="1050473"/>
                  <a:pt x="603289" y="1063098"/>
                </a:cubicBezTo>
                <a:cubicBezTo>
                  <a:pt x="603289" y="1075723"/>
                  <a:pt x="593054" y="1085958"/>
                  <a:pt x="580429" y="1085958"/>
                </a:cubicBezTo>
                <a:cubicBezTo>
                  <a:pt x="567804" y="1085958"/>
                  <a:pt x="557569" y="1075723"/>
                  <a:pt x="557569" y="1063098"/>
                </a:cubicBezTo>
                <a:cubicBezTo>
                  <a:pt x="557569" y="1050473"/>
                  <a:pt x="567804" y="1040238"/>
                  <a:pt x="580429" y="1040238"/>
                </a:cubicBezTo>
                <a:close/>
                <a:moveTo>
                  <a:pt x="6202585" y="868066"/>
                </a:moveTo>
                <a:lnTo>
                  <a:pt x="6226380" y="884987"/>
                </a:lnTo>
                <a:lnTo>
                  <a:pt x="6228343" y="889725"/>
                </a:lnTo>
                <a:cubicBezTo>
                  <a:pt x="6228343" y="902350"/>
                  <a:pt x="6218108" y="912585"/>
                  <a:pt x="6205483" y="912585"/>
                </a:cubicBezTo>
                <a:cubicBezTo>
                  <a:pt x="6192858" y="912585"/>
                  <a:pt x="6182623" y="902350"/>
                  <a:pt x="6182623" y="889725"/>
                </a:cubicBezTo>
                <a:cubicBezTo>
                  <a:pt x="6182623" y="883413"/>
                  <a:pt x="6185182" y="877698"/>
                  <a:pt x="6189319" y="873561"/>
                </a:cubicBezTo>
                <a:close/>
                <a:moveTo>
                  <a:pt x="6018538" y="866865"/>
                </a:moveTo>
                <a:cubicBezTo>
                  <a:pt x="6031163" y="866865"/>
                  <a:pt x="6041398" y="877100"/>
                  <a:pt x="6041398" y="889725"/>
                </a:cubicBezTo>
                <a:cubicBezTo>
                  <a:pt x="6041398" y="902350"/>
                  <a:pt x="6031163" y="912585"/>
                  <a:pt x="6018538" y="912585"/>
                </a:cubicBezTo>
                <a:cubicBezTo>
                  <a:pt x="6005913" y="912585"/>
                  <a:pt x="5995678" y="902350"/>
                  <a:pt x="5995678" y="889725"/>
                </a:cubicBezTo>
                <a:cubicBezTo>
                  <a:pt x="5995678" y="877100"/>
                  <a:pt x="6005913" y="866865"/>
                  <a:pt x="6018538" y="866865"/>
                </a:cubicBezTo>
                <a:close/>
                <a:moveTo>
                  <a:pt x="5831593" y="866865"/>
                </a:moveTo>
                <a:cubicBezTo>
                  <a:pt x="5844218" y="866865"/>
                  <a:pt x="5854453" y="877100"/>
                  <a:pt x="5854453" y="889725"/>
                </a:cubicBezTo>
                <a:cubicBezTo>
                  <a:pt x="5854453" y="902350"/>
                  <a:pt x="5844218" y="912585"/>
                  <a:pt x="5831593" y="912585"/>
                </a:cubicBezTo>
                <a:cubicBezTo>
                  <a:pt x="5818968" y="912585"/>
                  <a:pt x="5808733" y="902350"/>
                  <a:pt x="5808733" y="889725"/>
                </a:cubicBezTo>
                <a:cubicBezTo>
                  <a:pt x="5808733" y="877100"/>
                  <a:pt x="5818968" y="866865"/>
                  <a:pt x="5831593" y="866865"/>
                </a:cubicBezTo>
                <a:close/>
                <a:moveTo>
                  <a:pt x="5644648" y="866865"/>
                </a:moveTo>
                <a:cubicBezTo>
                  <a:pt x="5657273" y="866865"/>
                  <a:pt x="5667508" y="877100"/>
                  <a:pt x="5667508" y="889725"/>
                </a:cubicBezTo>
                <a:cubicBezTo>
                  <a:pt x="5667508" y="902350"/>
                  <a:pt x="5657273" y="912585"/>
                  <a:pt x="5644648" y="912585"/>
                </a:cubicBezTo>
                <a:cubicBezTo>
                  <a:pt x="5632023" y="912585"/>
                  <a:pt x="5621788" y="902350"/>
                  <a:pt x="5621788" y="889725"/>
                </a:cubicBezTo>
                <a:cubicBezTo>
                  <a:pt x="5621788" y="877100"/>
                  <a:pt x="5632023" y="866865"/>
                  <a:pt x="5644648" y="866865"/>
                </a:cubicBezTo>
                <a:close/>
                <a:moveTo>
                  <a:pt x="5457703" y="866865"/>
                </a:moveTo>
                <a:cubicBezTo>
                  <a:pt x="5470328" y="866865"/>
                  <a:pt x="5480563" y="877100"/>
                  <a:pt x="5480563" y="889725"/>
                </a:cubicBezTo>
                <a:cubicBezTo>
                  <a:pt x="5480563" y="902350"/>
                  <a:pt x="5470328" y="912585"/>
                  <a:pt x="5457703" y="912585"/>
                </a:cubicBezTo>
                <a:cubicBezTo>
                  <a:pt x="5445078" y="912585"/>
                  <a:pt x="5434843" y="902350"/>
                  <a:pt x="5434843" y="889725"/>
                </a:cubicBezTo>
                <a:cubicBezTo>
                  <a:pt x="5434843" y="877100"/>
                  <a:pt x="5445078" y="866865"/>
                  <a:pt x="5457703" y="866865"/>
                </a:cubicBezTo>
                <a:close/>
                <a:moveTo>
                  <a:pt x="1515154" y="866865"/>
                </a:moveTo>
                <a:cubicBezTo>
                  <a:pt x="1521467" y="866865"/>
                  <a:pt x="1527182" y="869424"/>
                  <a:pt x="1531319" y="873561"/>
                </a:cubicBezTo>
                <a:lnTo>
                  <a:pt x="1534707" y="881740"/>
                </a:lnTo>
                <a:lnTo>
                  <a:pt x="1510999" y="892109"/>
                </a:lnTo>
                <a:lnTo>
                  <a:pt x="1496459" y="899780"/>
                </a:lnTo>
                <a:lnTo>
                  <a:pt x="1492294" y="889725"/>
                </a:lnTo>
                <a:cubicBezTo>
                  <a:pt x="1492294" y="877100"/>
                  <a:pt x="1502529" y="866865"/>
                  <a:pt x="1515154" y="866865"/>
                </a:cubicBezTo>
                <a:close/>
                <a:moveTo>
                  <a:pt x="1328209" y="866865"/>
                </a:moveTo>
                <a:cubicBezTo>
                  <a:pt x="1340834" y="866865"/>
                  <a:pt x="1351069" y="877100"/>
                  <a:pt x="1351069" y="889725"/>
                </a:cubicBezTo>
                <a:cubicBezTo>
                  <a:pt x="1351069" y="902350"/>
                  <a:pt x="1340834" y="912585"/>
                  <a:pt x="1328209" y="912585"/>
                </a:cubicBezTo>
                <a:cubicBezTo>
                  <a:pt x="1315584" y="912585"/>
                  <a:pt x="1305349" y="902350"/>
                  <a:pt x="1305349" y="889725"/>
                </a:cubicBezTo>
                <a:cubicBezTo>
                  <a:pt x="1305349" y="877100"/>
                  <a:pt x="1315584" y="866865"/>
                  <a:pt x="1328209" y="866865"/>
                </a:cubicBezTo>
                <a:close/>
                <a:moveTo>
                  <a:pt x="1141264" y="866865"/>
                </a:moveTo>
                <a:cubicBezTo>
                  <a:pt x="1153889" y="866865"/>
                  <a:pt x="1164124" y="877100"/>
                  <a:pt x="1164124" y="889725"/>
                </a:cubicBezTo>
                <a:cubicBezTo>
                  <a:pt x="1164124" y="902350"/>
                  <a:pt x="1153889" y="912585"/>
                  <a:pt x="1141264" y="912585"/>
                </a:cubicBezTo>
                <a:cubicBezTo>
                  <a:pt x="1128639" y="912585"/>
                  <a:pt x="1118404" y="902350"/>
                  <a:pt x="1118404" y="889725"/>
                </a:cubicBezTo>
                <a:cubicBezTo>
                  <a:pt x="1118404" y="877100"/>
                  <a:pt x="1128639" y="866865"/>
                  <a:pt x="1141264" y="866865"/>
                </a:cubicBezTo>
                <a:close/>
                <a:moveTo>
                  <a:pt x="954319" y="866865"/>
                </a:moveTo>
                <a:cubicBezTo>
                  <a:pt x="966944" y="866865"/>
                  <a:pt x="977179" y="877100"/>
                  <a:pt x="977179" y="889725"/>
                </a:cubicBezTo>
                <a:cubicBezTo>
                  <a:pt x="977179" y="902350"/>
                  <a:pt x="966944" y="912585"/>
                  <a:pt x="954319" y="912585"/>
                </a:cubicBezTo>
                <a:cubicBezTo>
                  <a:pt x="941694" y="912585"/>
                  <a:pt x="931459" y="902350"/>
                  <a:pt x="931459" y="889725"/>
                </a:cubicBezTo>
                <a:cubicBezTo>
                  <a:pt x="931459" y="877100"/>
                  <a:pt x="941694" y="866865"/>
                  <a:pt x="954319" y="866865"/>
                </a:cubicBezTo>
                <a:close/>
                <a:moveTo>
                  <a:pt x="767374" y="866865"/>
                </a:moveTo>
                <a:cubicBezTo>
                  <a:pt x="779999" y="866865"/>
                  <a:pt x="790234" y="877100"/>
                  <a:pt x="790234" y="889725"/>
                </a:cubicBezTo>
                <a:cubicBezTo>
                  <a:pt x="790234" y="902350"/>
                  <a:pt x="779999" y="912585"/>
                  <a:pt x="767374" y="912585"/>
                </a:cubicBezTo>
                <a:cubicBezTo>
                  <a:pt x="754749" y="912585"/>
                  <a:pt x="744514" y="902350"/>
                  <a:pt x="744514" y="889725"/>
                </a:cubicBezTo>
                <a:cubicBezTo>
                  <a:pt x="744514" y="877100"/>
                  <a:pt x="754749" y="866865"/>
                  <a:pt x="767374" y="866865"/>
                </a:cubicBezTo>
                <a:close/>
                <a:moveTo>
                  <a:pt x="5831593" y="693492"/>
                </a:moveTo>
                <a:cubicBezTo>
                  <a:pt x="5844218" y="693492"/>
                  <a:pt x="5854453" y="703727"/>
                  <a:pt x="5854453" y="716352"/>
                </a:cubicBezTo>
                <a:cubicBezTo>
                  <a:pt x="5854453" y="728977"/>
                  <a:pt x="5844218" y="739212"/>
                  <a:pt x="5831593" y="739212"/>
                </a:cubicBezTo>
                <a:cubicBezTo>
                  <a:pt x="5818968" y="739212"/>
                  <a:pt x="5808733" y="728977"/>
                  <a:pt x="5808733" y="716352"/>
                </a:cubicBezTo>
                <a:cubicBezTo>
                  <a:pt x="5808733" y="703727"/>
                  <a:pt x="5818968" y="693492"/>
                  <a:pt x="5831593" y="693492"/>
                </a:cubicBezTo>
                <a:close/>
                <a:moveTo>
                  <a:pt x="5644648" y="693492"/>
                </a:moveTo>
                <a:cubicBezTo>
                  <a:pt x="5657273" y="693492"/>
                  <a:pt x="5667508" y="703727"/>
                  <a:pt x="5667508" y="716352"/>
                </a:cubicBezTo>
                <a:cubicBezTo>
                  <a:pt x="5667508" y="728977"/>
                  <a:pt x="5657273" y="739212"/>
                  <a:pt x="5644648" y="739212"/>
                </a:cubicBezTo>
                <a:cubicBezTo>
                  <a:pt x="5632023" y="739212"/>
                  <a:pt x="5621788" y="728977"/>
                  <a:pt x="5621788" y="716352"/>
                </a:cubicBezTo>
                <a:cubicBezTo>
                  <a:pt x="5621788" y="703727"/>
                  <a:pt x="5632023" y="693492"/>
                  <a:pt x="5644648" y="693492"/>
                </a:cubicBezTo>
                <a:close/>
                <a:moveTo>
                  <a:pt x="5457703" y="693492"/>
                </a:moveTo>
                <a:cubicBezTo>
                  <a:pt x="5470328" y="693492"/>
                  <a:pt x="5480563" y="703727"/>
                  <a:pt x="5480563" y="716352"/>
                </a:cubicBezTo>
                <a:cubicBezTo>
                  <a:pt x="5480563" y="728977"/>
                  <a:pt x="5470328" y="739212"/>
                  <a:pt x="5457703" y="739212"/>
                </a:cubicBezTo>
                <a:cubicBezTo>
                  <a:pt x="5445078" y="739212"/>
                  <a:pt x="5434843" y="728977"/>
                  <a:pt x="5434843" y="716352"/>
                </a:cubicBezTo>
                <a:cubicBezTo>
                  <a:pt x="5434843" y="703727"/>
                  <a:pt x="5445078" y="693492"/>
                  <a:pt x="5457703" y="693492"/>
                </a:cubicBezTo>
                <a:close/>
                <a:moveTo>
                  <a:pt x="5270758" y="693492"/>
                </a:moveTo>
                <a:cubicBezTo>
                  <a:pt x="5283383" y="693492"/>
                  <a:pt x="5293618" y="703727"/>
                  <a:pt x="5293618" y="716352"/>
                </a:cubicBezTo>
                <a:cubicBezTo>
                  <a:pt x="5293618" y="728977"/>
                  <a:pt x="5283383" y="739212"/>
                  <a:pt x="5270758" y="739212"/>
                </a:cubicBezTo>
                <a:cubicBezTo>
                  <a:pt x="5258133" y="739212"/>
                  <a:pt x="5247898" y="728977"/>
                  <a:pt x="5247898" y="716352"/>
                </a:cubicBezTo>
                <a:cubicBezTo>
                  <a:pt x="5247898" y="703727"/>
                  <a:pt x="5258133" y="693492"/>
                  <a:pt x="5270758" y="693492"/>
                </a:cubicBezTo>
                <a:close/>
                <a:moveTo>
                  <a:pt x="5083813" y="693492"/>
                </a:moveTo>
                <a:cubicBezTo>
                  <a:pt x="5096438" y="693492"/>
                  <a:pt x="5106673" y="703727"/>
                  <a:pt x="5106673" y="716352"/>
                </a:cubicBezTo>
                <a:cubicBezTo>
                  <a:pt x="5106673" y="728977"/>
                  <a:pt x="5096438" y="739212"/>
                  <a:pt x="5083813" y="739212"/>
                </a:cubicBezTo>
                <a:cubicBezTo>
                  <a:pt x="5071188" y="739212"/>
                  <a:pt x="5060953" y="728977"/>
                  <a:pt x="5060953" y="716352"/>
                </a:cubicBezTo>
                <a:cubicBezTo>
                  <a:pt x="5060953" y="703727"/>
                  <a:pt x="5071188" y="693492"/>
                  <a:pt x="5083813" y="693492"/>
                </a:cubicBezTo>
                <a:close/>
                <a:moveTo>
                  <a:pt x="4896868" y="693492"/>
                </a:moveTo>
                <a:cubicBezTo>
                  <a:pt x="4909493" y="693492"/>
                  <a:pt x="4919728" y="703727"/>
                  <a:pt x="4919728" y="716352"/>
                </a:cubicBezTo>
                <a:lnTo>
                  <a:pt x="4919203" y="717621"/>
                </a:lnTo>
                <a:lnTo>
                  <a:pt x="4879303" y="703570"/>
                </a:lnTo>
                <a:lnTo>
                  <a:pt x="4880704" y="700188"/>
                </a:lnTo>
                <a:cubicBezTo>
                  <a:pt x="4884841" y="696051"/>
                  <a:pt x="4890556" y="693492"/>
                  <a:pt x="4896868" y="693492"/>
                </a:cubicBezTo>
                <a:close/>
                <a:moveTo>
                  <a:pt x="1889044" y="693492"/>
                </a:moveTo>
                <a:cubicBezTo>
                  <a:pt x="1901669" y="693492"/>
                  <a:pt x="1911904" y="703727"/>
                  <a:pt x="1911904" y="716352"/>
                </a:cubicBezTo>
                <a:lnTo>
                  <a:pt x="1907353" y="727340"/>
                </a:lnTo>
                <a:lnTo>
                  <a:pt x="1881966" y="736280"/>
                </a:lnTo>
                <a:lnTo>
                  <a:pt x="1872880" y="732517"/>
                </a:lnTo>
                <a:cubicBezTo>
                  <a:pt x="1868743" y="728380"/>
                  <a:pt x="1866184" y="722665"/>
                  <a:pt x="1866184" y="716352"/>
                </a:cubicBezTo>
                <a:cubicBezTo>
                  <a:pt x="1866184" y="703727"/>
                  <a:pt x="1876419" y="693492"/>
                  <a:pt x="1889044" y="693492"/>
                </a:cubicBezTo>
                <a:close/>
                <a:moveTo>
                  <a:pt x="1702099" y="693492"/>
                </a:moveTo>
                <a:cubicBezTo>
                  <a:pt x="1714724" y="693492"/>
                  <a:pt x="1724959" y="703727"/>
                  <a:pt x="1724959" y="716352"/>
                </a:cubicBezTo>
                <a:cubicBezTo>
                  <a:pt x="1724959" y="728977"/>
                  <a:pt x="1714724" y="739212"/>
                  <a:pt x="1702099" y="739212"/>
                </a:cubicBezTo>
                <a:cubicBezTo>
                  <a:pt x="1689474" y="739212"/>
                  <a:pt x="1679239" y="728977"/>
                  <a:pt x="1679239" y="716352"/>
                </a:cubicBezTo>
                <a:cubicBezTo>
                  <a:pt x="1679239" y="703727"/>
                  <a:pt x="1689474" y="693492"/>
                  <a:pt x="1702099" y="693492"/>
                </a:cubicBezTo>
                <a:close/>
                <a:moveTo>
                  <a:pt x="1515154" y="693492"/>
                </a:moveTo>
                <a:cubicBezTo>
                  <a:pt x="1527779" y="693492"/>
                  <a:pt x="1538014" y="703727"/>
                  <a:pt x="1538014" y="716352"/>
                </a:cubicBezTo>
                <a:cubicBezTo>
                  <a:pt x="1538014" y="728977"/>
                  <a:pt x="1527779" y="739212"/>
                  <a:pt x="1515154" y="739212"/>
                </a:cubicBezTo>
                <a:cubicBezTo>
                  <a:pt x="1502529" y="739212"/>
                  <a:pt x="1492294" y="728977"/>
                  <a:pt x="1492294" y="716352"/>
                </a:cubicBezTo>
                <a:cubicBezTo>
                  <a:pt x="1492294" y="703727"/>
                  <a:pt x="1502529" y="693492"/>
                  <a:pt x="1515154" y="693492"/>
                </a:cubicBezTo>
                <a:close/>
                <a:moveTo>
                  <a:pt x="1328209" y="693492"/>
                </a:moveTo>
                <a:cubicBezTo>
                  <a:pt x="1340834" y="693492"/>
                  <a:pt x="1351069" y="703727"/>
                  <a:pt x="1351069" y="716352"/>
                </a:cubicBezTo>
                <a:cubicBezTo>
                  <a:pt x="1351069" y="728977"/>
                  <a:pt x="1340834" y="739212"/>
                  <a:pt x="1328209" y="739212"/>
                </a:cubicBezTo>
                <a:cubicBezTo>
                  <a:pt x="1315584" y="739212"/>
                  <a:pt x="1305349" y="728977"/>
                  <a:pt x="1305349" y="716352"/>
                </a:cubicBezTo>
                <a:cubicBezTo>
                  <a:pt x="1305349" y="703727"/>
                  <a:pt x="1315584" y="693492"/>
                  <a:pt x="1328209" y="693492"/>
                </a:cubicBezTo>
                <a:close/>
                <a:moveTo>
                  <a:pt x="1141264" y="693492"/>
                </a:moveTo>
                <a:cubicBezTo>
                  <a:pt x="1153889" y="693492"/>
                  <a:pt x="1164124" y="703727"/>
                  <a:pt x="1164124" y="716352"/>
                </a:cubicBezTo>
                <a:cubicBezTo>
                  <a:pt x="1164124" y="728977"/>
                  <a:pt x="1153889" y="739212"/>
                  <a:pt x="1141264" y="739212"/>
                </a:cubicBezTo>
                <a:cubicBezTo>
                  <a:pt x="1128639" y="739212"/>
                  <a:pt x="1118404" y="728977"/>
                  <a:pt x="1118404" y="716352"/>
                </a:cubicBezTo>
                <a:cubicBezTo>
                  <a:pt x="1118404" y="703727"/>
                  <a:pt x="1128639" y="693492"/>
                  <a:pt x="1141264" y="693492"/>
                </a:cubicBezTo>
                <a:close/>
                <a:moveTo>
                  <a:pt x="954319" y="693492"/>
                </a:moveTo>
                <a:cubicBezTo>
                  <a:pt x="966944" y="693492"/>
                  <a:pt x="977179" y="703727"/>
                  <a:pt x="977179" y="716352"/>
                </a:cubicBezTo>
                <a:cubicBezTo>
                  <a:pt x="977179" y="728977"/>
                  <a:pt x="966944" y="739212"/>
                  <a:pt x="954319" y="739212"/>
                </a:cubicBezTo>
                <a:cubicBezTo>
                  <a:pt x="941694" y="739212"/>
                  <a:pt x="931459" y="728977"/>
                  <a:pt x="931459" y="716352"/>
                </a:cubicBezTo>
                <a:cubicBezTo>
                  <a:pt x="931459" y="703727"/>
                  <a:pt x="941694" y="693492"/>
                  <a:pt x="954319" y="693492"/>
                </a:cubicBezTo>
                <a:close/>
                <a:moveTo>
                  <a:pt x="1159252" y="554743"/>
                </a:moveTo>
                <a:lnTo>
                  <a:pt x="1157429" y="559144"/>
                </a:lnTo>
                <a:cubicBezTo>
                  <a:pt x="1153292" y="563280"/>
                  <a:pt x="1147577" y="565839"/>
                  <a:pt x="1141264" y="565839"/>
                </a:cubicBezTo>
                <a:lnTo>
                  <a:pt x="1139231" y="564997"/>
                </a:lnTo>
                <a:close/>
                <a:moveTo>
                  <a:pt x="5635060" y="524091"/>
                </a:moveTo>
                <a:lnTo>
                  <a:pt x="5666315" y="540099"/>
                </a:lnTo>
                <a:lnTo>
                  <a:pt x="5667508" y="542979"/>
                </a:lnTo>
                <a:cubicBezTo>
                  <a:pt x="5667508" y="555604"/>
                  <a:pt x="5657273" y="565839"/>
                  <a:pt x="5644648" y="565839"/>
                </a:cubicBezTo>
                <a:cubicBezTo>
                  <a:pt x="5632023" y="565839"/>
                  <a:pt x="5621788" y="555604"/>
                  <a:pt x="5621788" y="542979"/>
                </a:cubicBezTo>
                <a:cubicBezTo>
                  <a:pt x="5621788" y="536667"/>
                  <a:pt x="5624347" y="530952"/>
                  <a:pt x="5628484" y="526815"/>
                </a:cubicBezTo>
                <a:close/>
                <a:moveTo>
                  <a:pt x="5457703" y="520119"/>
                </a:moveTo>
                <a:cubicBezTo>
                  <a:pt x="5470328" y="520119"/>
                  <a:pt x="5480563" y="530354"/>
                  <a:pt x="5480563" y="542979"/>
                </a:cubicBezTo>
                <a:cubicBezTo>
                  <a:pt x="5480563" y="555604"/>
                  <a:pt x="5470328" y="565839"/>
                  <a:pt x="5457703" y="565839"/>
                </a:cubicBezTo>
                <a:cubicBezTo>
                  <a:pt x="5445078" y="565839"/>
                  <a:pt x="5434843" y="555604"/>
                  <a:pt x="5434843" y="542979"/>
                </a:cubicBezTo>
                <a:cubicBezTo>
                  <a:pt x="5434843" y="530354"/>
                  <a:pt x="5445078" y="520119"/>
                  <a:pt x="5457703" y="520119"/>
                </a:cubicBezTo>
                <a:close/>
                <a:moveTo>
                  <a:pt x="5270758" y="520119"/>
                </a:moveTo>
                <a:cubicBezTo>
                  <a:pt x="5283383" y="520119"/>
                  <a:pt x="5293618" y="530354"/>
                  <a:pt x="5293618" y="542979"/>
                </a:cubicBezTo>
                <a:cubicBezTo>
                  <a:pt x="5293618" y="555604"/>
                  <a:pt x="5283383" y="565839"/>
                  <a:pt x="5270758" y="565839"/>
                </a:cubicBezTo>
                <a:cubicBezTo>
                  <a:pt x="5258133" y="565839"/>
                  <a:pt x="5247898" y="555604"/>
                  <a:pt x="5247898" y="542979"/>
                </a:cubicBezTo>
                <a:cubicBezTo>
                  <a:pt x="5247898" y="530354"/>
                  <a:pt x="5258133" y="520119"/>
                  <a:pt x="5270758" y="520119"/>
                </a:cubicBezTo>
                <a:close/>
                <a:moveTo>
                  <a:pt x="5083813" y="520119"/>
                </a:moveTo>
                <a:cubicBezTo>
                  <a:pt x="5096438" y="520119"/>
                  <a:pt x="5106673" y="530354"/>
                  <a:pt x="5106673" y="542979"/>
                </a:cubicBezTo>
                <a:cubicBezTo>
                  <a:pt x="5106673" y="555604"/>
                  <a:pt x="5096438" y="565839"/>
                  <a:pt x="5083813" y="565839"/>
                </a:cubicBezTo>
                <a:cubicBezTo>
                  <a:pt x="5071188" y="565839"/>
                  <a:pt x="5060953" y="555604"/>
                  <a:pt x="5060953" y="542979"/>
                </a:cubicBezTo>
                <a:cubicBezTo>
                  <a:pt x="5060953" y="530354"/>
                  <a:pt x="5071188" y="520119"/>
                  <a:pt x="5083813" y="520119"/>
                </a:cubicBezTo>
                <a:close/>
                <a:moveTo>
                  <a:pt x="4896868" y="520119"/>
                </a:moveTo>
                <a:cubicBezTo>
                  <a:pt x="4909493" y="520119"/>
                  <a:pt x="4919728" y="530354"/>
                  <a:pt x="4919728" y="542979"/>
                </a:cubicBezTo>
                <a:cubicBezTo>
                  <a:pt x="4919728" y="555604"/>
                  <a:pt x="4909493" y="565839"/>
                  <a:pt x="4896868" y="565839"/>
                </a:cubicBezTo>
                <a:cubicBezTo>
                  <a:pt x="4884243" y="565839"/>
                  <a:pt x="4874008" y="555604"/>
                  <a:pt x="4874008" y="542979"/>
                </a:cubicBezTo>
                <a:cubicBezTo>
                  <a:pt x="4874008" y="530354"/>
                  <a:pt x="4884243" y="520119"/>
                  <a:pt x="4896868" y="520119"/>
                </a:cubicBezTo>
                <a:close/>
                <a:moveTo>
                  <a:pt x="4709923" y="520119"/>
                </a:moveTo>
                <a:cubicBezTo>
                  <a:pt x="4722548" y="520119"/>
                  <a:pt x="4732783" y="530354"/>
                  <a:pt x="4732783" y="542979"/>
                </a:cubicBezTo>
                <a:cubicBezTo>
                  <a:pt x="4732783" y="555604"/>
                  <a:pt x="4722548" y="565839"/>
                  <a:pt x="4709923" y="565839"/>
                </a:cubicBezTo>
                <a:cubicBezTo>
                  <a:pt x="4697298" y="565839"/>
                  <a:pt x="4687063" y="555604"/>
                  <a:pt x="4687063" y="542979"/>
                </a:cubicBezTo>
                <a:cubicBezTo>
                  <a:pt x="4687063" y="530354"/>
                  <a:pt x="4697298" y="520119"/>
                  <a:pt x="4709923" y="520119"/>
                </a:cubicBezTo>
                <a:close/>
                <a:moveTo>
                  <a:pt x="4522978" y="520119"/>
                </a:moveTo>
                <a:cubicBezTo>
                  <a:pt x="4535603" y="520119"/>
                  <a:pt x="4545838" y="530354"/>
                  <a:pt x="4545838" y="542979"/>
                </a:cubicBezTo>
                <a:cubicBezTo>
                  <a:pt x="4545838" y="555604"/>
                  <a:pt x="4535603" y="565839"/>
                  <a:pt x="4522978" y="565839"/>
                </a:cubicBezTo>
                <a:cubicBezTo>
                  <a:pt x="4510353" y="565839"/>
                  <a:pt x="4500118" y="555604"/>
                  <a:pt x="4500118" y="542979"/>
                </a:cubicBezTo>
                <a:cubicBezTo>
                  <a:pt x="4500118" y="530354"/>
                  <a:pt x="4510353" y="520119"/>
                  <a:pt x="4522978" y="520119"/>
                </a:cubicBezTo>
                <a:close/>
                <a:moveTo>
                  <a:pt x="4336033" y="520119"/>
                </a:moveTo>
                <a:cubicBezTo>
                  <a:pt x="4348658" y="520119"/>
                  <a:pt x="4358893" y="530354"/>
                  <a:pt x="4358893" y="542979"/>
                </a:cubicBezTo>
                <a:lnTo>
                  <a:pt x="4353603" y="555752"/>
                </a:lnTo>
                <a:lnTo>
                  <a:pt x="4315436" y="548443"/>
                </a:lnTo>
                <a:lnTo>
                  <a:pt x="4313173" y="542979"/>
                </a:lnTo>
                <a:cubicBezTo>
                  <a:pt x="4313173" y="530354"/>
                  <a:pt x="4323408" y="520119"/>
                  <a:pt x="4336033" y="520119"/>
                </a:cubicBezTo>
                <a:close/>
                <a:moveTo>
                  <a:pt x="2636824" y="520119"/>
                </a:moveTo>
                <a:lnTo>
                  <a:pt x="2652567" y="526640"/>
                </a:lnTo>
                <a:lnTo>
                  <a:pt x="2617989" y="533262"/>
                </a:lnTo>
                <a:lnTo>
                  <a:pt x="2620660" y="526815"/>
                </a:lnTo>
                <a:cubicBezTo>
                  <a:pt x="2624797" y="522678"/>
                  <a:pt x="2630512" y="520119"/>
                  <a:pt x="2636824" y="520119"/>
                </a:cubicBezTo>
                <a:close/>
                <a:moveTo>
                  <a:pt x="2449879" y="520119"/>
                </a:moveTo>
                <a:cubicBezTo>
                  <a:pt x="2462504" y="520119"/>
                  <a:pt x="2472739" y="530354"/>
                  <a:pt x="2472739" y="542979"/>
                </a:cubicBezTo>
                <a:cubicBezTo>
                  <a:pt x="2472739" y="549292"/>
                  <a:pt x="2470181" y="555007"/>
                  <a:pt x="2466044" y="559144"/>
                </a:cubicBezTo>
                <a:lnTo>
                  <a:pt x="2451598" y="565127"/>
                </a:lnTo>
                <a:lnTo>
                  <a:pt x="2449247" y="565577"/>
                </a:lnTo>
                <a:lnTo>
                  <a:pt x="2433715" y="559144"/>
                </a:lnTo>
                <a:cubicBezTo>
                  <a:pt x="2429578" y="555007"/>
                  <a:pt x="2427019" y="549292"/>
                  <a:pt x="2427019" y="542979"/>
                </a:cubicBezTo>
                <a:cubicBezTo>
                  <a:pt x="2427019" y="530354"/>
                  <a:pt x="2437254" y="520119"/>
                  <a:pt x="2449879" y="520119"/>
                </a:cubicBezTo>
                <a:close/>
                <a:moveTo>
                  <a:pt x="2262934" y="520119"/>
                </a:moveTo>
                <a:cubicBezTo>
                  <a:pt x="2275559" y="520119"/>
                  <a:pt x="2285794" y="530354"/>
                  <a:pt x="2285794" y="542979"/>
                </a:cubicBezTo>
                <a:cubicBezTo>
                  <a:pt x="2285794" y="555604"/>
                  <a:pt x="2275559" y="565839"/>
                  <a:pt x="2262934" y="565839"/>
                </a:cubicBezTo>
                <a:cubicBezTo>
                  <a:pt x="2250309" y="565839"/>
                  <a:pt x="2240074" y="555604"/>
                  <a:pt x="2240074" y="542979"/>
                </a:cubicBezTo>
                <a:cubicBezTo>
                  <a:pt x="2240074" y="530354"/>
                  <a:pt x="2250309" y="520119"/>
                  <a:pt x="2262934" y="520119"/>
                </a:cubicBezTo>
                <a:close/>
                <a:moveTo>
                  <a:pt x="2075989" y="520119"/>
                </a:moveTo>
                <a:cubicBezTo>
                  <a:pt x="2088614" y="520119"/>
                  <a:pt x="2098849" y="530354"/>
                  <a:pt x="2098849" y="542979"/>
                </a:cubicBezTo>
                <a:cubicBezTo>
                  <a:pt x="2098849" y="555604"/>
                  <a:pt x="2088614" y="565839"/>
                  <a:pt x="2075989" y="565839"/>
                </a:cubicBezTo>
                <a:cubicBezTo>
                  <a:pt x="2063364" y="565839"/>
                  <a:pt x="2053129" y="555604"/>
                  <a:pt x="2053129" y="542979"/>
                </a:cubicBezTo>
                <a:cubicBezTo>
                  <a:pt x="2053129" y="530354"/>
                  <a:pt x="2063364" y="520119"/>
                  <a:pt x="2075989" y="520119"/>
                </a:cubicBezTo>
                <a:close/>
                <a:moveTo>
                  <a:pt x="1889044" y="520119"/>
                </a:moveTo>
                <a:cubicBezTo>
                  <a:pt x="1901669" y="520119"/>
                  <a:pt x="1911904" y="530354"/>
                  <a:pt x="1911904" y="542979"/>
                </a:cubicBezTo>
                <a:cubicBezTo>
                  <a:pt x="1911904" y="555604"/>
                  <a:pt x="1901669" y="565839"/>
                  <a:pt x="1889044" y="565839"/>
                </a:cubicBezTo>
                <a:cubicBezTo>
                  <a:pt x="1876419" y="565839"/>
                  <a:pt x="1866184" y="555604"/>
                  <a:pt x="1866184" y="542979"/>
                </a:cubicBezTo>
                <a:cubicBezTo>
                  <a:pt x="1866184" y="530354"/>
                  <a:pt x="1876419" y="520119"/>
                  <a:pt x="1889044" y="520119"/>
                </a:cubicBezTo>
                <a:close/>
                <a:moveTo>
                  <a:pt x="1702099" y="520119"/>
                </a:moveTo>
                <a:cubicBezTo>
                  <a:pt x="1714724" y="520119"/>
                  <a:pt x="1724959" y="530354"/>
                  <a:pt x="1724959" y="542979"/>
                </a:cubicBezTo>
                <a:cubicBezTo>
                  <a:pt x="1724959" y="555604"/>
                  <a:pt x="1714724" y="565839"/>
                  <a:pt x="1702099" y="565839"/>
                </a:cubicBezTo>
                <a:cubicBezTo>
                  <a:pt x="1689474" y="565839"/>
                  <a:pt x="1679239" y="555604"/>
                  <a:pt x="1679239" y="542979"/>
                </a:cubicBezTo>
                <a:cubicBezTo>
                  <a:pt x="1679239" y="530354"/>
                  <a:pt x="1689474" y="520119"/>
                  <a:pt x="1702099" y="520119"/>
                </a:cubicBezTo>
                <a:close/>
                <a:moveTo>
                  <a:pt x="1515154" y="520119"/>
                </a:moveTo>
                <a:cubicBezTo>
                  <a:pt x="1527779" y="520119"/>
                  <a:pt x="1538014" y="530354"/>
                  <a:pt x="1538014" y="542979"/>
                </a:cubicBezTo>
                <a:cubicBezTo>
                  <a:pt x="1538014" y="555604"/>
                  <a:pt x="1527779" y="565839"/>
                  <a:pt x="1515154" y="565839"/>
                </a:cubicBezTo>
                <a:cubicBezTo>
                  <a:pt x="1502529" y="565839"/>
                  <a:pt x="1492294" y="555604"/>
                  <a:pt x="1492294" y="542979"/>
                </a:cubicBezTo>
                <a:cubicBezTo>
                  <a:pt x="1492294" y="530354"/>
                  <a:pt x="1502529" y="520119"/>
                  <a:pt x="1515154" y="520119"/>
                </a:cubicBezTo>
                <a:close/>
                <a:moveTo>
                  <a:pt x="1328209" y="520119"/>
                </a:moveTo>
                <a:cubicBezTo>
                  <a:pt x="1340834" y="520119"/>
                  <a:pt x="1351069" y="530354"/>
                  <a:pt x="1351069" y="542979"/>
                </a:cubicBezTo>
                <a:cubicBezTo>
                  <a:pt x="1351069" y="555604"/>
                  <a:pt x="1340834" y="565839"/>
                  <a:pt x="1328209" y="565839"/>
                </a:cubicBezTo>
                <a:cubicBezTo>
                  <a:pt x="1315584" y="565839"/>
                  <a:pt x="1305349" y="555604"/>
                  <a:pt x="1305349" y="542979"/>
                </a:cubicBezTo>
                <a:cubicBezTo>
                  <a:pt x="1305349" y="530354"/>
                  <a:pt x="1315584" y="520119"/>
                  <a:pt x="1328209" y="520119"/>
                </a:cubicBezTo>
                <a:close/>
                <a:moveTo>
                  <a:pt x="1536305" y="373733"/>
                </a:moveTo>
                <a:lnTo>
                  <a:pt x="1531319" y="385771"/>
                </a:lnTo>
                <a:cubicBezTo>
                  <a:pt x="1527182" y="389908"/>
                  <a:pt x="1521467" y="392466"/>
                  <a:pt x="1515154" y="392466"/>
                </a:cubicBezTo>
                <a:lnTo>
                  <a:pt x="1504568" y="388081"/>
                </a:lnTo>
                <a:close/>
                <a:moveTo>
                  <a:pt x="5261225" y="350695"/>
                </a:moveTo>
                <a:lnTo>
                  <a:pt x="5290579" y="362269"/>
                </a:lnTo>
                <a:lnTo>
                  <a:pt x="5293618" y="369606"/>
                </a:lnTo>
                <a:cubicBezTo>
                  <a:pt x="5293618" y="382231"/>
                  <a:pt x="5283383" y="392466"/>
                  <a:pt x="5270758" y="392466"/>
                </a:cubicBezTo>
                <a:cubicBezTo>
                  <a:pt x="5258133" y="392466"/>
                  <a:pt x="5247898" y="382231"/>
                  <a:pt x="5247898" y="369606"/>
                </a:cubicBezTo>
                <a:cubicBezTo>
                  <a:pt x="5247898" y="363294"/>
                  <a:pt x="5250457" y="357579"/>
                  <a:pt x="5254594" y="353442"/>
                </a:cubicBezTo>
                <a:close/>
                <a:moveTo>
                  <a:pt x="5083813" y="346746"/>
                </a:moveTo>
                <a:cubicBezTo>
                  <a:pt x="5096438" y="346746"/>
                  <a:pt x="5106673" y="356981"/>
                  <a:pt x="5106673" y="369606"/>
                </a:cubicBezTo>
                <a:cubicBezTo>
                  <a:pt x="5106673" y="382231"/>
                  <a:pt x="5096438" y="392466"/>
                  <a:pt x="5083813" y="392466"/>
                </a:cubicBezTo>
                <a:cubicBezTo>
                  <a:pt x="5071188" y="392466"/>
                  <a:pt x="5060953" y="382231"/>
                  <a:pt x="5060953" y="369606"/>
                </a:cubicBezTo>
                <a:cubicBezTo>
                  <a:pt x="5060953" y="356981"/>
                  <a:pt x="5071188" y="346746"/>
                  <a:pt x="5083813" y="346746"/>
                </a:cubicBezTo>
                <a:close/>
                <a:moveTo>
                  <a:pt x="4896868" y="346746"/>
                </a:moveTo>
                <a:cubicBezTo>
                  <a:pt x="4909493" y="346746"/>
                  <a:pt x="4919728" y="356981"/>
                  <a:pt x="4919728" y="369606"/>
                </a:cubicBezTo>
                <a:cubicBezTo>
                  <a:pt x="4919728" y="382231"/>
                  <a:pt x="4909493" y="392466"/>
                  <a:pt x="4896868" y="392466"/>
                </a:cubicBezTo>
                <a:cubicBezTo>
                  <a:pt x="4884243" y="392466"/>
                  <a:pt x="4874008" y="382231"/>
                  <a:pt x="4874008" y="369606"/>
                </a:cubicBezTo>
                <a:cubicBezTo>
                  <a:pt x="4874008" y="356981"/>
                  <a:pt x="4884243" y="346746"/>
                  <a:pt x="4896868" y="346746"/>
                </a:cubicBezTo>
                <a:close/>
                <a:moveTo>
                  <a:pt x="4709923" y="346746"/>
                </a:moveTo>
                <a:cubicBezTo>
                  <a:pt x="4722548" y="346746"/>
                  <a:pt x="4732783" y="356981"/>
                  <a:pt x="4732783" y="369606"/>
                </a:cubicBezTo>
                <a:cubicBezTo>
                  <a:pt x="4732783" y="382231"/>
                  <a:pt x="4722548" y="392466"/>
                  <a:pt x="4709923" y="392466"/>
                </a:cubicBezTo>
                <a:cubicBezTo>
                  <a:pt x="4697298" y="392466"/>
                  <a:pt x="4687063" y="382231"/>
                  <a:pt x="4687063" y="369606"/>
                </a:cubicBezTo>
                <a:cubicBezTo>
                  <a:pt x="4687063" y="356981"/>
                  <a:pt x="4697298" y="346746"/>
                  <a:pt x="4709923" y="346746"/>
                </a:cubicBezTo>
                <a:close/>
                <a:moveTo>
                  <a:pt x="4522978" y="346746"/>
                </a:moveTo>
                <a:cubicBezTo>
                  <a:pt x="4535603" y="346746"/>
                  <a:pt x="4545838" y="356981"/>
                  <a:pt x="4545838" y="369606"/>
                </a:cubicBezTo>
                <a:cubicBezTo>
                  <a:pt x="4545838" y="382231"/>
                  <a:pt x="4535603" y="392466"/>
                  <a:pt x="4522978" y="392466"/>
                </a:cubicBezTo>
                <a:cubicBezTo>
                  <a:pt x="4510353" y="392466"/>
                  <a:pt x="4500118" y="382231"/>
                  <a:pt x="4500118" y="369606"/>
                </a:cubicBezTo>
                <a:cubicBezTo>
                  <a:pt x="4500118" y="356981"/>
                  <a:pt x="4510353" y="346746"/>
                  <a:pt x="4522978" y="346746"/>
                </a:cubicBezTo>
                <a:close/>
                <a:moveTo>
                  <a:pt x="4336033" y="346746"/>
                </a:moveTo>
                <a:cubicBezTo>
                  <a:pt x="4348658" y="346746"/>
                  <a:pt x="4358893" y="356981"/>
                  <a:pt x="4358893" y="369606"/>
                </a:cubicBezTo>
                <a:cubicBezTo>
                  <a:pt x="4358893" y="382231"/>
                  <a:pt x="4348658" y="392466"/>
                  <a:pt x="4336033" y="392466"/>
                </a:cubicBezTo>
                <a:cubicBezTo>
                  <a:pt x="4323408" y="392466"/>
                  <a:pt x="4313173" y="382231"/>
                  <a:pt x="4313173" y="369606"/>
                </a:cubicBezTo>
                <a:cubicBezTo>
                  <a:pt x="4313173" y="356981"/>
                  <a:pt x="4323408" y="346746"/>
                  <a:pt x="4336033" y="346746"/>
                </a:cubicBezTo>
                <a:close/>
                <a:moveTo>
                  <a:pt x="4132393" y="346746"/>
                </a:moveTo>
                <a:cubicBezTo>
                  <a:pt x="4145018" y="346746"/>
                  <a:pt x="4155253" y="356981"/>
                  <a:pt x="4155253" y="369606"/>
                </a:cubicBezTo>
                <a:cubicBezTo>
                  <a:pt x="4155253" y="382231"/>
                  <a:pt x="4145018" y="392466"/>
                  <a:pt x="4132393" y="392466"/>
                </a:cubicBezTo>
                <a:cubicBezTo>
                  <a:pt x="4119768" y="392466"/>
                  <a:pt x="4109533" y="382231"/>
                  <a:pt x="4109533" y="369606"/>
                </a:cubicBezTo>
                <a:cubicBezTo>
                  <a:pt x="4109533" y="356981"/>
                  <a:pt x="4119768" y="346746"/>
                  <a:pt x="4132393" y="346746"/>
                </a:cubicBezTo>
                <a:close/>
                <a:moveTo>
                  <a:pt x="3945439" y="346746"/>
                </a:moveTo>
                <a:cubicBezTo>
                  <a:pt x="3958064" y="346746"/>
                  <a:pt x="3968299" y="356981"/>
                  <a:pt x="3968299" y="369606"/>
                </a:cubicBezTo>
                <a:cubicBezTo>
                  <a:pt x="3968299" y="382231"/>
                  <a:pt x="3958064" y="392466"/>
                  <a:pt x="3945439" y="392466"/>
                </a:cubicBezTo>
                <a:cubicBezTo>
                  <a:pt x="3932814" y="392466"/>
                  <a:pt x="3922579" y="382231"/>
                  <a:pt x="3922579" y="369606"/>
                </a:cubicBezTo>
                <a:cubicBezTo>
                  <a:pt x="3922579" y="356981"/>
                  <a:pt x="3932814" y="346746"/>
                  <a:pt x="3945439" y="346746"/>
                </a:cubicBezTo>
                <a:close/>
                <a:moveTo>
                  <a:pt x="3758494" y="346746"/>
                </a:moveTo>
                <a:cubicBezTo>
                  <a:pt x="3771119" y="346746"/>
                  <a:pt x="3781354" y="356981"/>
                  <a:pt x="3781354" y="369606"/>
                </a:cubicBezTo>
                <a:cubicBezTo>
                  <a:pt x="3781354" y="382231"/>
                  <a:pt x="3771119" y="392466"/>
                  <a:pt x="3758494" y="392466"/>
                </a:cubicBezTo>
                <a:cubicBezTo>
                  <a:pt x="3745869" y="392466"/>
                  <a:pt x="3735634" y="382231"/>
                  <a:pt x="3735634" y="369606"/>
                </a:cubicBezTo>
                <a:cubicBezTo>
                  <a:pt x="3735634" y="356981"/>
                  <a:pt x="3745869" y="346746"/>
                  <a:pt x="3758494" y="346746"/>
                </a:cubicBezTo>
                <a:close/>
                <a:moveTo>
                  <a:pt x="3571549" y="346746"/>
                </a:moveTo>
                <a:cubicBezTo>
                  <a:pt x="3584174" y="346746"/>
                  <a:pt x="3594409" y="356981"/>
                  <a:pt x="3594409" y="369606"/>
                </a:cubicBezTo>
                <a:cubicBezTo>
                  <a:pt x="3594409" y="382231"/>
                  <a:pt x="3584174" y="392466"/>
                  <a:pt x="3571549" y="392466"/>
                </a:cubicBezTo>
                <a:cubicBezTo>
                  <a:pt x="3558924" y="392466"/>
                  <a:pt x="3548689" y="382231"/>
                  <a:pt x="3548689" y="369606"/>
                </a:cubicBezTo>
                <a:cubicBezTo>
                  <a:pt x="3548689" y="356981"/>
                  <a:pt x="3558924" y="346746"/>
                  <a:pt x="3571549" y="346746"/>
                </a:cubicBezTo>
                <a:close/>
                <a:moveTo>
                  <a:pt x="3384604" y="346746"/>
                </a:moveTo>
                <a:cubicBezTo>
                  <a:pt x="3397229" y="346746"/>
                  <a:pt x="3407464" y="356981"/>
                  <a:pt x="3407464" y="369606"/>
                </a:cubicBezTo>
                <a:cubicBezTo>
                  <a:pt x="3407464" y="382231"/>
                  <a:pt x="3397229" y="392466"/>
                  <a:pt x="3384604" y="392466"/>
                </a:cubicBezTo>
                <a:cubicBezTo>
                  <a:pt x="3371979" y="392466"/>
                  <a:pt x="3361744" y="382231"/>
                  <a:pt x="3361744" y="369606"/>
                </a:cubicBezTo>
                <a:cubicBezTo>
                  <a:pt x="3361744" y="356981"/>
                  <a:pt x="3371979" y="346746"/>
                  <a:pt x="3384604" y="346746"/>
                </a:cubicBezTo>
                <a:close/>
                <a:moveTo>
                  <a:pt x="3197659" y="346746"/>
                </a:moveTo>
                <a:cubicBezTo>
                  <a:pt x="3210284" y="346746"/>
                  <a:pt x="3220519" y="356981"/>
                  <a:pt x="3220519" y="369606"/>
                </a:cubicBezTo>
                <a:cubicBezTo>
                  <a:pt x="3220519" y="382231"/>
                  <a:pt x="3210284" y="392466"/>
                  <a:pt x="3197659" y="392466"/>
                </a:cubicBezTo>
                <a:cubicBezTo>
                  <a:pt x="3185034" y="392466"/>
                  <a:pt x="3174799" y="382231"/>
                  <a:pt x="3174799" y="369606"/>
                </a:cubicBezTo>
                <a:cubicBezTo>
                  <a:pt x="3174799" y="356981"/>
                  <a:pt x="3185034" y="346746"/>
                  <a:pt x="3197659" y="346746"/>
                </a:cubicBezTo>
                <a:close/>
                <a:moveTo>
                  <a:pt x="3010714" y="346746"/>
                </a:moveTo>
                <a:cubicBezTo>
                  <a:pt x="3023339" y="346746"/>
                  <a:pt x="3033574" y="356981"/>
                  <a:pt x="3033574" y="369606"/>
                </a:cubicBezTo>
                <a:cubicBezTo>
                  <a:pt x="3033574" y="382231"/>
                  <a:pt x="3023339" y="392466"/>
                  <a:pt x="3010714" y="392466"/>
                </a:cubicBezTo>
                <a:cubicBezTo>
                  <a:pt x="2998089" y="392466"/>
                  <a:pt x="2987854" y="382231"/>
                  <a:pt x="2987854" y="369606"/>
                </a:cubicBezTo>
                <a:cubicBezTo>
                  <a:pt x="2987854" y="356981"/>
                  <a:pt x="2998089" y="346746"/>
                  <a:pt x="3010714" y="346746"/>
                </a:cubicBezTo>
                <a:close/>
                <a:moveTo>
                  <a:pt x="2823769" y="346746"/>
                </a:moveTo>
                <a:cubicBezTo>
                  <a:pt x="2836394" y="346746"/>
                  <a:pt x="2846629" y="356981"/>
                  <a:pt x="2846629" y="369606"/>
                </a:cubicBezTo>
                <a:cubicBezTo>
                  <a:pt x="2846629" y="382231"/>
                  <a:pt x="2836394" y="392466"/>
                  <a:pt x="2823769" y="392466"/>
                </a:cubicBezTo>
                <a:cubicBezTo>
                  <a:pt x="2811144" y="392466"/>
                  <a:pt x="2800909" y="382231"/>
                  <a:pt x="2800909" y="369606"/>
                </a:cubicBezTo>
                <a:cubicBezTo>
                  <a:pt x="2800909" y="356981"/>
                  <a:pt x="2811144" y="346746"/>
                  <a:pt x="2823769" y="346746"/>
                </a:cubicBezTo>
                <a:close/>
                <a:moveTo>
                  <a:pt x="2636824" y="346746"/>
                </a:moveTo>
                <a:cubicBezTo>
                  <a:pt x="2649449" y="346746"/>
                  <a:pt x="2659684" y="356981"/>
                  <a:pt x="2659684" y="369606"/>
                </a:cubicBezTo>
                <a:cubicBezTo>
                  <a:pt x="2659684" y="382231"/>
                  <a:pt x="2649449" y="392466"/>
                  <a:pt x="2636824" y="392466"/>
                </a:cubicBezTo>
                <a:cubicBezTo>
                  <a:pt x="2624199" y="392466"/>
                  <a:pt x="2613964" y="382231"/>
                  <a:pt x="2613964" y="369606"/>
                </a:cubicBezTo>
                <a:cubicBezTo>
                  <a:pt x="2613964" y="356981"/>
                  <a:pt x="2624199" y="346746"/>
                  <a:pt x="2636824" y="346746"/>
                </a:cubicBezTo>
                <a:close/>
                <a:moveTo>
                  <a:pt x="2449879" y="346746"/>
                </a:moveTo>
                <a:cubicBezTo>
                  <a:pt x="2462504" y="346746"/>
                  <a:pt x="2472739" y="356981"/>
                  <a:pt x="2472739" y="369606"/>
                </a:cubicBezTo>
                <a:cubicBezTo>
                  <a:pt x="2472739" y="382231"/>
                  <a:pt x="2462504" y="392466"/>
                  <a:pt x="2449879" y="392466"/>
                </a:cubicBezTo>
                <a:cubicBezTo>
                  <a:pt x="2437254" y="392466"/>
                  <a:pt x="2427019" y="382231"/>
                  <a:pt x="2427019" y="369606"/>
                </a:cubicBezTo>
                <a:cubicBezTo>
                  <a:pt x="2427019" y="356981"/>
                  <a:pt x="2437254" y="346746"/>
                  <a:pt x="2449879" y="346746"/>
                </a:cubicBezTo>
                <a:close/>
                <a:moveTo>
                  <a:pt x="2262934" y="346746"/>
                </a:moveTo>
                <a:cubicBezTo>
                  <a:pt x="2275559" y="346746"/>
                  <a:pt x="2285794" y="356981"/>
                  <a:pt x="2285794" y="369606"/>
                </a:cubicBezTo>
                <a:cubicBezTo>
                  <a:pt x="2285794" y="382231"/>
                  <a:pt x="2275559" y="392466"/>
                  <a:pt x="2262934" y="392466"/>
                </a:cubicBezTo>
                <a:cubicBezTo>
                  <a:pt x="2250309" y="392466"/>
                  <a:pt x="2240074" y="382231"/>
                  <a:pt x="2240074" y="369606"/>
                </a:cubicBezTo>
                <a:cubicBezTo>
                  <a:pt x="2240074" y="356981"/>
                  <a:pt x="2250309" y="346746"/>
                  <a:pt x="2262934" y="346746"/>
                </a:cubicBezTo>
                <a:close/>
                <a:moveTo>
                  <a:pt x="2075989" y="346746"/>
                </a:moveTo>
                <a:cubicBezTo>
                  <a:pt x="2088614" y="346746"/>
                  <a:pt x="2098849" y="356981"/>
                  <a:pt x="2098849" y="369606"/>
                </a:cubicBezTo>
                <a:cubicBezTo>
                  <a:pt x="2098849" y="382231"/>
                  <a:pt x="2088614" y="392466"/>
                  <a:pt x="2075989" y="392466"/>
                </a:cubicBezTo>
                <a:cubicBezTo>
                  <a:pt x="2063364" y="392466"/>
                  <a:pt x="2053129" y="382231"/>
                  <a:pt x="2053129" y="369606"/>
                </a:cubicBezTo>
                <a:cubicBezTo>
                  <a:pt x="2053129" y="356981"/>
                  <a:pt x="2063364" y="346746"/>
                  <a:pt x="2075989" y="346746"/>
                </a:cubicBezTo>
                <a:close/>
                <a:moveTo>
                  <a:pt x="1889044" y="346746"/>
                </a:moveTo>
                <a:cubicBezTo>
                  <a:pt x="1901669" y="346746"/>
                  <a:pt x="1911904" y="356981"/>
                  <a:pt x="1911904" y="369606"/>
                </a:cubicBezTo>
                <a:cubicBezTo>
                  <a:pt x="1911904" y="382231"/>
                  <a:pt x="1901669" y="392466"/>
                  <a:pt x="1889044" y="392466"/>
                </a:cubicBezTo>
                <a:cubicBezTo>
                  <a:pt x="1876419" y="392466"/>
                  <a:pt x="1866184" y="382231"/>
                  <a:pt x="1866184" y="369606"/>
                </a:cubicBezTo>
                <a:cubicBezTo>
                  <a:pt x="1866184" y="356981"/>
                  <a:pt x="1876419" y="346746"/>
                  <a:pt x="1889044" y="346746"/>
                </a:cubicBezTo>
                <a:close/>
                <a:moveTo>
                  <a:pt x="1702099" y="346746"/>
                </a:moveTo>
                <a:cubicBezTo>
                  <a:pt x="1714724" y="346746"/>
                  <a:pt x="1724959" y="356981"/>
                  <a:pt x="1724959" y="369606"/>
                </a:cubicBezTo>
                <a:cubicBezTo>
                  <a:pt x="1724959" y="382231"/>
                  <a:pt x="1714724" y="392466"/>
                  <a:pt x="1702099" y="392466"/>
                </a:cubicBezTo>
                <a:cubicBezTo>
                  <a:pt x="1689474" y="392466"/>
                  <a:pt x="1679239" y="382231"/>
                  <a:pt x="1679239" y="369606"/>
                </a:cubicBezTo>
                <a:cubicBezTo>
                  <a:pt x="1679239" y="356981"/>
                  <a:pt x="1689474" y="346746"/>
                  <a:pt x="1702099" y="346746"/>
                </a:cubicBezTo>
                <a:close/>
                <a:moveTo>
                  <a:pt x="4880592" y="212127"/>
                </a:moveTo>
                <a:lnTo>
                  <a:pt x="4898807" y="218290"/>
                </a:lnTo>
                <a:lnTo>
                  <a:pt x="4896868" y="219093"/>
                </a:lnTo>
                <a:cubicBezTo>
                  <a:pt x="4890556" y="219093"/>
                  <a:pt x="4884841" y="216535"/>
                  <a:pt x="4880704" y="212398"/>
                </a:cubicBezTo>
                <a:close/>
                <a:moveTo>
                  <a:pt x="2088405" y="178516"/>
                </a:moveTo>
                <a:lnTo>
                  <a:pt x="2092154" y="180069"/>
                </a:lnTo>
                <a:cubicBezTo>
                  <a:pt x="2096291" y="184206"/>
                  <a:pt x="2098849" y="189921"/>
                  <a:pt x="2098849" y="196233"/>
                </a:cubicBezTo>
                <a:cubicBezTo>
                  <a:pt x="2098849" y="208858"/>
                  <a:pt x="2088614" y="219093"/>
                  <a:pt x="2075989" y="219093"/>
                </a:cubicBezTo>
                <a:cubicBezTo>
                  <a:pt x="2063364" y="219093"/>
                  <a:pt x="2053129" y="208858"/>
                  <a:pt x="2053129" y="196233"/>
                </a:cubicBezTo>
                <a:lnTo>
                  <a:pt x="2056744" y="187507"/>
                </a:lnTo>
                <a:close/>
                <a:moveTo>
                  <a:pt x="4709923" y="173373"/>
                </a:moveTo>
                <a:cubicBezTo>
                  <a:pt x="4722548" y="173373"/>
                  <a:pt x="4732783" y="183608"/>
                  <a:pt x="4732783" y="196233"/>
                </a:cubicBezTo>
                <a:cubicBezTo>
                  <a:pt x="4732783" y="208858"/>
                  <a:pt x="4722548" y="219093"/>
                  <a:pt x="4709923" y="219093"/>
                </a:cubicBezTo>
                <a:cubicBezTo>
                  <a:pt x="4697298" y="219093"/>
                  <a:pt x="4687063" y="208858"/>
                  <a:pt x="4687063" y="196233"/>
                </a:cubicBezTo>
                <a:cubicBezTo>
                  <a:pt x="4687063" y="183608"/>
                  <a:pt x="4697298" y="173373"/>
                  <a:pt x="4709923" y="173373"/>
                </a:cubicBezTo>
                <a:close/>
                <a:moveTo>
                  <a:pt x="4522978" y="173373"/>
                </a:moveTo>
                <a:cubicBezTo>
                  <a:pt x="4535603" y="173373"/>
                  <a:pt x="4545838" y="183608"/>
                  <a:pt x="4545838" y="196233"/>
                </a:cubicBezTo>
                <a:cubicBezTo>
                  <a:pt x="4545838" y="208858"/>
                  <a:pt x="4535603" y="219093"/>
                  <a:pt x="4522978" y="219093"/>
                </a:cubicBezTo>
                <a:cubicBezTo>
                  <a:pt x="4510353" y="219093"/>
                  <a:pt x="4500118" y="208858"/>
                  <a:pt x="4500118" y="196233"/>
                </a:cubicBezTo>
                <a:cubicBezTo>
                  <a:pt x="4500118" y="183608"/>
                  <a:pt x="4510353" y="173373"/>
                  <a:pt x="4522978" y="173373"/>
                </a:cubicBezTo>
                <a:close/>
                <a:moveTo>
                  <a:pt x="4336033" y="173373"/>
                </a:moveTo>
                <a:cubicBezTo>
                  <a:pt x="4348658" y="173373"/>
                  <a:pt x="4358893" y="183608"/>
                  <a:pt x="4358893" y="196233"/>
                </a:cubicBezTo>
                <a:cubicBezTo>
                  <a:pt x="4358893" y="208858"/>
                  <a:pt x="4348658" y="219093"/>
                  <a:pt x="4336033" y="219093"/>
                </a:cubicBezTo>
                <a:cubicBezTo>
                  <a:pt x="4323408" y="219093"/>
                  <a:pt x="4313173" y="208858"/>
                  <a:pt x="4313173" y="196233"/>
                </a:cubicBezTo>
                <a:cubicBezTo>
                  <a:pt x="4313173" y="183608"/>
                  <a:pt x="4323408" y="173373"/>
                  <a:pt x="4336033" y="173373"/>
                </a:cubicBezTo>
                <a:close/>
                <a:moveTo>
                  <a:pt x="4132393" y="173373"/>
                </a:moveTo>
                <a:cubicBezTo>
                  <a:pt x="4145018" y="173373"/>
                  <a:pt x="4155253" y="183608"/>
                  <a:pt x="4155253" y="196233"/>
                </a:cubicBezTo>
                <a:cubicBezTo>
                  <a:pt x="4155253" y="208858"/>
                  <a:pt x="4145018" y="219093"/>
                  <a:pt x="4132393" y="219093"/>
                </a:cubicBezTo>
                <a:cubicBezTo>
                  <a:pt x="4119768" y="219093"/>
                  <a:pt x="4109533" y="208858"/>
                  <a:pt x="4109533" y="196233"/>
                </a:cubicBezTo>
                <a:cubicBezTo>
                  <a:pt x="4109533" y="183608"/>
                  <a:pt x="4119768" y="173373"/>
                  <a:pt x="4132393" y="173373"/>
                </a:cubicBezTo>
                <a:close/>
                <a:moveTo>
                  <a:pt x="3945439" y="173373"/>
                </a:moveTo>
                <a:cubicBezTo>
                  <a:pt x="3958064" y="173373"/>
                  <a:pt x="3968299" y="183608"/>
                  <a:pt x="3968299" y="196233"/>
                </a:cubicBezTo>
                <a:cubicBezTo>
                  <a:pt x="3968299" y="208858"/>
                  <a:pt x="3958064" y="219093"/>
                  <a:pt x="3945439" y="219093"/>
                </a:cubicBezTo>
                <a:cubicBezTo>
                  <a:pt x="3932814" y="219093"/>
                  <a:pt x="3922579" y="208858"/>
                  <a:pt x="3922579" y="196233"/>
                </a:cubicBezTo>
                <a:cubicBezTo>
                  <a:pt x="3922579" y="183608"/>
                  <a:pt x="3932814" y="173373"/>
                  <a:pt x="3945439" y="173373"/>
                </a:cubicBezTo>
                <a:close/>
                <a:moveTo>
                  <a:pt x="3758494" y="173373"/>
                </a:moveTo>
                <a:cubicBezTo>
                  <a:pt x="3771119" y="173373"/>
                  <a:pt x="3781354" y="183608"/>
                  <a:pt x="3781354" y="196233"/>
                </a:cubicBezTo>
                <a:cubicBezTo>
                  <a:pt x="3781354" y="208858"/>
                  <a:pt x="3771119" y="219093"/>
                  <a:pt x="3758494" y="219093"/>
                </a:cubicBezTo>
                <a:cubicBezTo>
                  <a:pt x="3745869" y="219093"/>
                  <a:pt x="3735634" y="208858"/>
                  <a:pt x="3735634" y="196233"/>
                </a:cubicBezTo>
                <a:cubicBezTo>
                  <a:pt x="3735634" y="183608"/>
                  <a:pt x="3745869" y="173373"/>
                  <a:pt x="3758494" y="173373"/>
                </a:cubicBezTo>
                <a:close/>
                <a:moveTo>
                  <a:pt x="3571549" y="173373"/>
                </a:moveTo>
                <a:cubicBezTo>
                  <a:pt x="3584174" y="173373"/>
                  <a:pt x="3594409" y="183608"/>
                  <a:pt x="3594409" y="196233"/>
                </a:cubicBezTo>
                <a:cubicBezTo>
                  <a:pt x="3594409" y="208858"/>
                  <a:pt x="3584174" y="219093"/>
                  <a:pt x="3571549" y="219093"/>
                </a:cubicBezTo>
                <a:cubicBezTo>
                  <a:pt x="3558924" y="219093"/>
                  <a:pt x="3548689" y="208858"/>
                  <a:pt x="3548689" y="196233"/>
                </a:cubicBezTo>
                <a:cubicBezTo>
                  <a:pt x="3548689" y="183608"/>
                  <a:pt x="3558924" y="173373"/>
                  <a:pt x="3571549" y="173373"/>
                </a:cubicBezTo>
                <a:close/>
                <a:moveTo>
                  <a:pt x="3384604" y="173373"/>
                </a:moveTo>
                <a:cubicBezTo>
                  <a:pt x="3397229" y="173373"/>
                  <a:pt x="3407464" y="183608"/>
                  <a:pt x="3407464" y="196233"/>
                </a:cubicBezTo>
                <a:cubicBezTo>
                  <a:pt x="3407464" y="208858"/>
                  <a:pt x="3397229" y="219093"/>
                  <a:pt x="3384604" y="219093"/>
                </a:cubicBezTo>
                <a:cubicBezTo>
                  <a:pt x="3371979" y="219093"/>
                  <a:pt x="3361744" y="208858"/>
                  <a:pt x="3361744" y="196233"/>
                </a:cubicBezTo>
                <a:cubicBezTo>
                  <a:pt x="3361744" y="183608"/>
                  <a:pt x="3371979" y="173373"/>
                  <a:pt x="3384604" y="173373"/>
                </a:cubicBezTo>
                <a:close/>
                <a:moveTo>
                  <a:pt x="3197659" y="173373"/>
                </a:moveTo>
                <a:cubicBezTo>
                  <a:pt x="3210284" y="173373"/>
                  <a:pt x="3220519" y="183608"/>
                  <a:pt x="3220519" y="196233"/>
                </a:cubicBezTo>
                <a:cubicBezTo>
                  <a:pt x="3220519" y="208858"/>
                  <a:pt x="3210284" y="219093"/>
                  <a:pt x="3197659" y="219093"/>
                </a:cubicBezTo>
                <a:cubicBezTo>
                  <a:pt x="3185034" y="219093"/>
                  <a:pt x="3174799" y="208858"/>
                  <a:pt x="3174799" y="196233"/>
                </a:cubicBezTo>
                <a:cubicBezTo>
                  <a:pt x="3174799" y="183608"/>
                  <a:pt x="3185034" y="173373"/>
                  <a:pt x="3197659" y="173373"/>
                </a:cubicBezTo>
                <a:close/>
                <a:moveTo>
                  <a:pt x="3010714" y="173373"/>
                </a:moveTo>
                <a:cubicBezTo>
                  <a:pt x="3023339" y="173373"/>
                  <a:pt x="3033574" y="183608"/>
                  <a:pt x="3033574" y="196233"/>
                </a:cubicBezTo>
                <a:cubicBezTo>
                  <a:pt x="3033574" y="208858"/>
                  <a:pt x="3023339" y="219093"/>
                  <a:pt x="3010714" y="219093"/>
                </a:cubicBezTo>
                <a:cubicBezTo>
                  <a:pt x="2998089" y="219093"/>
                  <a:pt x="2987854" y="208858"/>
                  <a:pt x="2987854" y="196233"/>
                </a:cubicBezTo>
                <a:cubicBezTo>
                  <a:pt x="2987854" y="183608"/>
                  <a:pt x="2998089" y="173373"/>
                  <a:pt x="3010714" y="173373"/>
                </a:cubicBezTo>
                <a:close/>
                <a:moveTo>
                  <a:pt x="2823769" y="173373"/>
                </a:moveTo>
                <a:cubicBezTo>
                  <a:pt x="2836394" y="173373"/>
                  <a:pt x="2846629" y="183608"/>
                  <a:pt x="2846629" y="196233"/>
                </a:cubicBezTo>
                <a:cubicBezTo>
                  <a:pt x="2846629" y="208858"/>
                  <a:pt x="2836394" y="219093"/>
                  <a:pt x="2823769" y="219093"/>
                </a:cubicBezTo>
                <a:cubicBezTo>
                  <a:pt x="2811144" y="219093"/>
                  <a:pt x="2800909" y="208858"/>
                  <a:pt x="2800909" y="196233"/>
                </a:cubicBezTo>
                <a:cubicBezTo>
                  <a:pt x="2800909" y="183608"/>
                  <a:pt x="2811144" y="173373"/>
                  <a:pt x="2823769" y="173373"/>
                </a:cubicBezTo>
                <a:close/>
                <a:moveTo>
                  <a:pt x="2636824" y="173373"/>
                </a:moveTo>
                <a:cubicBezTo>
                  <a:pt x="2649449" y="173373"/>
                  <a:pt x="2659684" y="183608"/>
                  <a:pt x="2659684" y="196233"/>
                </a:cubicBezTo>
                <a:cubicBezTo>
                  <a:pt x="2659684" y="208858"/>
                  <a:pt x="2649449" y="219093"/>
                  <a:pt x="2636824" y="219093"/>
                </a:cubicBezTo>
                <a:cubicBezTo>
                  <a:pt x="2624199" y="219093"/>
                  <a:pt x="2613964" y="208858"/>
                  <a:pt x="2613964" y="196233"/>
                </a:cubicBezTo>
                <a:cubicBezTo>
                  <a:pt x="2613964" y="183608"/>
                  <a:pt x="2624199" y="173373"/>
                  <a:pt x="2636824" y="173373"/>
                </a:cubicBezTo>
                <a:close/>
                <a:moveTo>
                  <a:pt x="2449879" y="173373"/>
                </a:moveTo>
                <a:cubicBezTo>
                  <a:pt x="2462504" y="173373"/>
                  <a:pt x="2472739" y="183608"/>
                  <a:pt x="2472739" y="196233"/>
                </a:cubicBezTo>
                <a:cubicBezTo>
                  <a:pt x="2472739" y="208858"/>
                  <a:pt x="2462504" y="219093"/>
                  <a:pt x="2449879" y="219093"/>
                </a:cubicBezTo>
                <a:cubicBezTo>
                  <a:pt x="2437254" y="219093"/>
                  <a:pt x="2427019" y="208858"/>
                  <a:pt x="2427019" y="196233"/>
                </a:cubicBezTo>
                <a:cubicBezTo>
                  <a:pt x="2427019" y="183608"/>
                  <a:pt x="2437254" y="173373"/>
                  <a:pt x="2449879" y="173373"/>
                </a:cubicBezTo>
                <a:close/>
                <a:moveTo>
                  <a:pt x="2262934" y="173373"/>
                </a:moveTo>
                <a:cubicBezTo>
                  <a:pt x="2275559" y="173373"/>
                  <a:pt x="2285794" y="183608"/>
                  <a:pt x="2285794" y="196233"/>
                </a:cubicBezTo>
                <a:cubicBezTo>
                  <a:pt x="2285794" y="208858"/>
                  <a:pt x="2275559" y="219093"/>
                  <a:pt x="2262934" y="219093"/>
                </a:cubicBezTo>
                <a:cubicBezTo>
                  <a:pt x="2250309" y="219093"/>
                  <a:pt x="2240074" y="208858"/>
                  <a:pt x="2240074" y="196233"/>
                </a:cubicBezTo>
                <a:cubicBezTo>
                  <a:pt x="2240074" y="183608"/>
                  <a:pt x="2250309" y="173373"/>
                  <a:pt x="2262934" y="173373"/>
                </a:cubicBezTo>
                <a:close/>
                <a:moveTo>
                  <a:pt x="4116095" y="38700"/>
                </a:moveTo>
                <a:lnTo>
                  <a:pt x="4141536" y="41933"/>
                </a:lnTo>
                <a:lnTo>
                  <a:pt x="4132393" y="45720"/>
                </a:lnTo>
                <a:cubicBezTo>
                  <a:pt x="4126081" y="45720"/>
                  <a:pt x="4120366" y="43162"/>
                  <a:pt x="4116229" y="39025"/>
                </a:cubicBezTo>
                <a:close/>
                <a:moveTo>
                  <a:pt x="2845735" y="25019"/>
                </a:moveTo>
                <a:lnTo>
                  <a:pt x="2839934" y="39025"/>
                </a:lnTo>
                <a:cubicBezTo>
                  <a:pt x="2835797" y="43162"/>
                  <a:pt x="2830082" y="45720"/>
                  <a:pt x="2823769" y="45720"/>
                </a:cubicBezTo>
                <a:cubicBezTo>
                  <a:pt x="2817457" y="45720"/>
                  <a:pt x="2811742" y="43162"/>
                  <a:pt x="2807605" y="39025"/>
                </a:cubicBezTo>
                <a:lnTo>
                  <a:pt x="2804000" y="30322"/>
                </a:lnTo>
                <a:close/>
                <a:moveTo>
                  <a:pt x="3926023" y="14548"/>
                </a:moveTo>
                <a:lnTo>
                  <a:pt x="3967014" y="19757"/>
                </a:lnTo>
                <a:lnTo>
                  <a:pt x="3968299" y="22860"/>
                </a:lnTo>
                <a:cubicBezTo>
                  <a:pt x="3968299" y="35485"/>
                  <a:pt x="3958064" y="45720"/>
                  <a:pt x="3945439" y="45720"/>
                </a:cubicBezTo>
                <a:cubicBezTo>
                  <a:pt x="3932814" y="45720"/>
                  <a:pt x="3922579" y="35485"/>
                  <a:pt x="3922579" y="22860"/>
                </a:cubicBezTo>
                <a:close/>
                <a:moveTo>
                  <a:pt x="3026904" y="6756"/>
                </a:moveTo>
                <a:lnTo>
                  <a:pt x="3033574" y="22860"/>
                </a:lnTo>
                <a:cubicBezTo>
                  <a:pt x="3033574" y="35485"/>
                  <a:pt x="3023339" y="45720"/>
                  <a:pt x="3010714" y="45720"/>
                </a:cubicBezTo>
                <a:cubicBezTo>
                  <a:pt x="2998089" y="45720"/>
                  <a:pt x="2987854" y="35485"/>
                  <a:pt x="2987854" y="22860"/>
                </a:cubicBezTo>
                <a:lnTo>
                  <a:pt x="2993472" y="9298"/>
                </a:lnTo>
                <a:close/>
                <a:moveTo>
                  <a:pt x="3755379" y="1291"/>
                </a:moveTo>
                <a:lnTo>
                  <a:pt x="3763010" y="1871"/>
                </a:lnTo>
                <a:lnTo>
                  <a:pt x="3774659" y="6696"/>
                </a:lnTo>
                <a:cubicBezTo>
                  <a:pt x="3778796" y="10833"/>
                  <a:pt x="3781354" y="16548"/>
                  <a:pt x="3781354" y="22860"/>
                </a:cubicBezTo>
                <a:cubicBezTo>
                  <a:pt x="3781354" y="35485"/>
                  <a:pt x="3771119" y="45720"/>
                  <a:pt x="3758494" y="45720"/>
                </a:cubicBezTo>
                <a:cubicBezTo>
                  <a:pt x="3745869" y="45720"/>
                  <a:pt x="3735634" y="35485"/>
                  <a:pt x="3735634" y="22860"/>
                </a:cubicBezTo>
                <a:cubicBezTo>
                  <a:pt x="3735634" y="16548"/>
                  <a:pt x="3738193" y="10833"/>
                  <a:pt x="3742330" y="6696"/>
                </a:cubicBezTo>
                <a:close/>
                <a:moveTo>
                  <a:pt x="3571549" y="0"/>
                </a:moveTo>
                <a:cubicBezTo>
                  <a:pt x="3584174" y="0"/>
                  <a:pt x="3594409" y="10235"/>
                  <a:pt x="3594409" y="22860"/>
                </a:cubicBezTo>
                <a:cubicBezTo>
                  <a:pt x="3594409" y="35485"/>
                  <a:pt x="3584174" y="45720"/>
                  <a:pt x="3571549" y="45720"/>
                </a:cubicBezTo>
                <a:cubicBezTo>
                  <a:pt x="3558924" y="45720"/>
                  <a:pt x="3548689" y="35485"/>
                  <a:pt x="3548689" y="22860"/>
                </a:cubicBezTo>
                <a:cubicBezTo>
                  <a:pt x="3548689" y="10235"/>
                  <a:pt x="3558924" y="0"/>
                  <a:pt x="3571549" y="0"/>
                </a:cubicBezTo>
                <a:close/>
                <a:moveTo>
                  <a:pt x="3384604" y="0"/>
                </a:moveTo>
                <a:cubicBezTo>
                  <a:pt x="3397229" y="0"/>
                  <a:pt x="3407464" y="10235"/>
                  <a:pt x="3407464" y="22860"/>
                </a:cubicBezTo>
                <a:cubicBezTo>
                  <a:pt x="3407464" y="35485"/>
                  <a:pt x="3397229" y="45720"/>
                  <a:pt x="3384604" y="45720"/>
                </a:cubicBezTo>
                <a:cubicBezTo>
                  <a:pt x="3371979" y="45720"/>
                  <a:pt x="3361744" y="35485"/>
                  <a:pt x="3361744" y="22860"/>
                </a:cubicBezTo>
                <a:cubicBezTo>
                  <a:pt x="3361744" y="10235"/>
                  <a:pt x="3371979" y="0"/>
                  <a:pt x="3384604" y="0"/>
                </a:cubicBezTo>
                <a:close/>
                <a:moveTo>
                  <a:pt x="3197659" y="0"/>
                </a:moveTo>
                <a:cubicBezTo>
                  <a:pt x="3210284" y="0"/>
                  <a:pt x="3220519" y="10235"/>
                  <a:pt x="3220519" y="22860"/>
                </a:cubicBezTo>
                <a:cubicBezTo>
                  <a:pt x="3220519" y="35485"/>
                  <a:pt x="3210284" y="45720"/>
                  <a:pt x="3197659" y="45720"/>
                </a:cubicBezTo>
                <a:cubicBezTo>
                  <a:pt x="3185034" y="45720"/>
                  <a:pt x="3174799" y="35485"/>
                  <a:pt x="3174799" y="22860"/>
                </a:cubicBezTo>
                <a:cubicBezTo>
                  <a:pt x="3174799" y="10235"/>
                  <a:pt x="3185034" y="0"/>
                  <a:pt x="3197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38000"/>
                </a:scheme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54A5C97-E552-4794-BE43-EBC6F099D2D4}"/>
              </a:ext>
            </a:extLst>
          </p:cNvPr>
          <p:cNvSpPr/>
          <p:nvPr/>
        </p:nvSpPr>
        <p:spPr>
          <a:xfrm flipV="1">
            <a:off x="5170572" y="0"/>
            <a:ext cx="1850857" cy="331204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1" name="TextBox 10"/>
          <p:cNvSpPr txBox="1"/>
          <p:nvPr/>
        </p:nvSpPr>
        <p:spPr>
          <a:xfrm>
            <a:off x="3669460" y="2601363"/>
            <a:ext cx="45754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3. </a:t>
            </a:r>
            <a:r>
              <a:rPr lang="ko-KR" altLang="en-US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사용 </a:t>
            </a:r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SW</a:t>
            </a:r>
            <a:endParaRPr lang="ko-KR" altLang="en-US" sz="54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792253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493053" y="344104"/>
            <a:ext cx="11201400" cy="77787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40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3. </a:t>
            </a:r>
            <a:r>
              <a:rPr lang="ko-KR" altLang="en-US" sz="40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사용 </a:t>
            </a:r>
            <a:r>
              <a:rPr lang="en-US" altLang="ko-KR" sz="40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SW</a:t>
            </a:r>
            <a:endParaRPr lang="en-US" sz="40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196" y="1236798"/>
            <a:ext cx="5759746" cy="537237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653048" y="1366344"/>
            <a:ext cx="3720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아두이노</a:t>
            </a:r>
            <a:endParaRPr lang="ko-KR" altLang="en-US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580525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around a table in a room&#10;&#10;Description automatically generated with low confidence">
            <a:extLst>
              <a:ext uri="{FF2B5EF4-FFF2-40B4-BE49-F238E27FC236}">
                <a16:creationId xmlns:a16="http://schemas.microsoft.com/office/drawing/2014/main" id="{D89096B3-4815-4AFA-A3AE-033BB572A3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3CEF248A-EE26-4B23-87C7-1A0D621217F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170572 w 12192000"/>
              <a:gd name="connsiteY1" fmla="*/ 0 h 6858000"/>
              <a:gd name="connsiteX2" fmla="*/ 5280275 w 12192000"/>
              <a:gd name="connsiteY2" fmla="*/ 82034 h 6858000"/>
              <a:gd name="connsiteX3" fmla="*/ 6096001 w 12192000"/>
              <a:gd name="connsiteY3" fmla="*/ 331204 h 6858000"/>
              <a:gd name="connsiteX4" fmla="*/ 6911727 w 12192000"/>
              <a:gd name="connsiteY4" fmla="*/ 82034 h 6858000"/>
              <a:gd name="connsiteX5" fmla="*/ 7021429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8899357 w 12192000"/>
              <a:gd name="connsiteY8" fmla="*/ 6858000 h 6858000"/>
              <a:gd name="connsiteX9" fmla="*/ 8567040 w 12192000"/>
              <a:gd name="connsiteY9" fmla="*/ 6609498 h 6858000"/>
              <a:gd name="connsiteX10" fmla="*/ 6096000 w 12192000"/>
              <a:gd name="connsiteY10" fmla="*/ 5854699 h 6858000"/>
              <a:gd name="connsiteX11" fmla="*/ 3624960 w 12192000"/>
              <a:gd name="connsiteY11" fmla="*/ 6609498 h 6858000"/>
              <a:gd name="connsiteX12" fmla="*/ 329264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170572" y="0"/>
                </a:lnTo>
                <a:lnTo>
                  <a:pt x="5280275" y="82034"/>
                </a:lnTo>
                <a:cubicBezTo>
                  <a:pt x="5513129" y="239347"/>
                  <a:pt x="5793837" y="331204"/>
                  <a:pt x="6096001" y="331204"/>
                </a:cubicBezTo>
                <a:cubicBezTo>
                  <a:pt x="6398164" y="331204"/>
                  <a:pt x="6678873" y="239347"/>
                  <a:pt x="6911727" y="82034"/>
                </a:cubicBezTo>
                <a:lnTo>
                  <a:pt x="7021429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899357" y="6858000"/>
                </a:lnTo>
                <a:lnTo>
                  <a:pt x="8567040" y="6609498"/>
                </a:lnTo>
                <a:cubicBezTo>
                  <a:pt x="7861668" y="6132957"/>
                  <a:pt x="7011330" y="5854699"/>
                  <a:pt x="6096000" y="5854699"/>
                </a:cubicBezTo>
                <a:cubicBezTo>
                  <a:pt x="5180671" y="5854699"/>
                  <a:pt x="4330333" y="6132957"/>
                  <a:pt x="3624960" y="6609498"/>
                </a:cubicBezTo>
                <a:lnTo>
                  <a:pt x="329264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A940CA9-CB4C-40FD-B152-FD57C62AD5C4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9DC0690-E35F-4DA1-90C1-A93EB1164846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4" name="Partial Circle 13">
            <a:extLst>
              <a:ext uri="{FF2B5EF4-FFF2-40B4-BE49-F238E27FC236}">
                <a16:creationId xmlns:a16="http://schemas.microsoft.com/office/drawing/2014/main" id="{45540C33-6867-4B5D-AEA8-63A574A0011A}"/>
              </a:ext>
            </a:extLst>
          </p:cNvPr>
          <p:cNvSpPr/>
          <p:nvPr/>
        </p:nvSpPr>
        <p:spPr>
          <a:xfrm>
            <a:off x="1964665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Partial Circle 13">
            <a:extLst>
              <a:ext uri="{FF2B5EF4-FFF2-40B4-BE49-F238E27FC236}">
                <a16:creationId xmlns:a16="http://schemas.microsoft.com/office/drawing/2014/main" id="{56D789CF-8891-4CE4-9AA6-D14A1F2B513F}"/>
              </a:ext>
            </a:extLst>
          </p:cNvPr>
          <p:cNvSpPr/>
          <p:nvPr/>
        </p:nvSpPr>
        <p:spPr>
          <a:xfrm flipH="1">
            <a:off x="7733734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FD24EAB-579C-4F58-A41C-D7538CE58088}"/>
              </a:ext>
            </a:extLst>
          </p:cNvPr>
          <p:cNvSpPr/>
          <p:nvPr/>
        </p:nvSpPr>
        <p:spPr>
          <a:xfrm>
            <a:off x="2668922" y="5398411"/>
            <a:ext cx="6789178" cy="1432704"/>
          </a:xfrm>
          <a:custGeom>
            <a:avLst/>
            <a:gdLst>
              <a:gd name="connsiteX0" fmla="*/ 27397 w 6789178"/>
              <a:gd name="connsiteY0" fmla="*/ 1390216 h 1432704"/>
              <a:gd name="connsiteX1" fmla="*/ 35759 w 6789178"/>
              <a:gd name="connsiteY1" fmla="*/ 1393680 h 1432704"/>
              <a:gd name="connsiteX2" fmla="*/ 42454 w 6789178"/>
              <a:gd name="connsiteY2" fmla="*/ 1409844 h 1432704"/>
              <a:gd name="connsiteX3" fmla="*/ 19594 w 6789178"/>
              <a:gd name="connsiteY3" fmla="*/ 1432704 h 1432704"/>
              <a:gd name="connsiteX4" fmla="*/ 3430 w 6789178"/>
              <a:gd name="connsiteY4" fmla="*/ 1426009 h 1432704"/>
              <a:gd name="connsiteX5" fmla="*/ 0 w 6789178"/>
              <a:gd name="connsiteY5" fmla="*/ 1417729 h 1432704"/>
              <a:gd name="connsiteX6" fmla="*/ 14582 w 6789178"/>
              <a:gd name="connsiteY6" fmla="*/ 1402434 h 1432704"/>
              <a:gd name="connsiteX7" fmla="*/ 6766318 w 6789178"/>
              <a:gd name="connsiteY7" fmla="*/ 1386984 h 1432704"/>
              <a:gd name="connsiteX8" fmla="*/ 6789178 w 6789178"/>
              <a:gd name="connsiteY8" fmla="*/ 1409844 h 1432704"/>
              <a:gd name="connsiteX9" fmla="*/ 6766318 w 6789178"/>
              <a:gd name="connsiteY9" fmla="*/ 1432704 h 1432704"/>
              <a:gd name="connsiteX10" fmla="*/ 6743458 w 6789178"/>
              <a:gd name="connsiteY10" fmla="*/ 1409844 h 1432704"/>
              <a:gd name="connsiteX11" fmla="*/ 6766318 w 6789178"/>
              <a:gd name="connsiteY11" fmla="*/ 1386984 h 1432704"/>
              <a:gd name="connsiteX12" fmla="*/ 6579373 w 6789178"/>
              <a:gd name="connsiteY12" fmla="*/ 1386984 h 1432704"/>
              <a:gd name="connsiteX13" fmla="*/ 6602233 w 6789178"/>
              <a:gd name="connsiteY13" fmla="*/ 1409844 h 1432704"/>
              <a:gd name="connsiteX14" fmla="*/ 6579373 w 6789178"/>
              <a:gd name="connsiteY14" fmla="*/ 1432704 h 1432704"/>
              <a:gd name="connsiteX15" fmla="*/ 6556513 w 6789178"/>
              <a:gd name="connsiteY15" fmla="*/ 1409844 h 1432704"/>
              <a:gd name="connsiteX16" fmla="*/ 6579373 w 6789178"/>
              <a:gd name="connsiteY16" fmla="*/ 1386984 h 1432704"/>
              <a:gd name="connsiteX17" fmla="*/ 6392428 w 6789178"/>
              <a:gd name="connsiteY17" fmla="*/ 1386984 h 1432704"/>
              <a:gd name="connsiteX18" fmla="*/ 6415288 w 6789178"/>
              <a:gd name="connsiteY18" fmla="*/ 1409844 h 1432704"/>
              <a:gd name="connsiteX19" fmla="*/ 6392428 w 6789178"/>
              <a:gd name="connsiteY19" fmla="*/ 1432704 h 1432704"/>
              <a:gd name="connsiteX20" fmla="*/ 6369568 w 6789178"/>
              <a:gd name="connsiteY20" fmla="*/ 1409844 h 1432704"/>
              <a:gd name="connsiteX21" fmla="*/ 6392428 w 6789178"/>
              <a:gd name="connsiteY21" fmla="*/ 1386984 h 1432704"/>
              <a:gd name="connsiteX22" fmla="*/ 6205483 w 6789178"/>
              <a:gd name="connsiteY22" fmla="*/ 1386984 h 1432704"/>
              <a:gd name="connsiteX23" fmla="*/ 6228343 w 6789178"/>
              <a:gd name="connsiteY23" fmla="*/ 1409844 h 1432704"/>
              <a:gd name="connsiteX24" fmla="*/ 6205483 w 6789178"/>
              <a:gd name="connsiteY24" fmla="*/ 1432704 h 1432704"/>
              <a:gd name="connsiteX25" fmla="*/ 6182623 w 6789178"/>
              <a:gd name="connsiteY25" fmla="*/ 1409844 h 1432704"/>
              <a:gd name="connsiteX26" fmla="*/ 6205483 w 6789178"/>
              <a:gd name="connsiteY26" fmla="*/ 1386984 h 1432704"/>
              <a:gd name="connsiteX27" fmla="*/ 580429 w 6789178"/>
              <a:gd name="connsiteY27" fmla="*/ 1386984 h 1432704"/>
              <a:gd name="connsiteX28" fmla="*/ 603289 w 6789178"/>
              <a:gd name="connsiteY28" fmla="*/ 1409844 h 1432704"/>
              <a:gd name="connsiteX29" fmla="*/ 580429 w 6789178"/>
              <a:gd name="connsiteY29" fmla="*/ 1432704 h 1432704"/>
              <a:gd name="connsiteX30" fmla="*/ 557569 w 6789178"/>
              <a:gd name="connsiteY30" fmla="*/ 1409844 h 1432704"/>
              <a:gd name="connsiteX31" fmla="*/ 580429 w 6789178"/>
              <a:gd name="connsiteY31" fmla="*/ 1386984 h 1432704"/>
              <a:gd name="connsiteX32" fmla="*/ 393484 w 6789178"/>
              <a:gd name="connsiteY32" fmla="*/ 1386984 h 1432704"/>
              <a:gd name="connsiteX33" fmla="*/ 416344 w 6789178"/>
              <a:gd name="connsiteY33" fmla="*/ 1409844 h 1432704"/>
              <a:gd name="connsiteX34" fmla="*/ 393484 w 6789178"/>
              <a:gd name="connsiteY34" fmla="*/ 1432704 h 1432704"/>
              <a:gd name="connsiteX35" fmla="*/ 370624 w 6789178"/>
              <a:gd name="connsiteY35" fmla="*/ 1409844 h 1432704"/>
              <a:gd name="connsiteX36" fmla="*/ 393484 w 6789178"/>
              <a:gd name="connsiteY36" fmla="*/ 1386984 h 1432704"/>
              <a:gd name="connsiteX37" fmla="*/ 206539 w 6789178"/>
              <a:gd name="connsiteY37" fmla="*/ 1386984 h 1432704"/>
              <a:gd name="connsiteX38" fmla="*/ 229399 w 6789178"/>
              <a:gd name="connsiteY38" fmla="*/ 1409844 h 1432704"/>
              <a:gd name="connsiteX39" fmla="*/ 206539 w 6789178"/>
              <a:gd name="connsiteY39" fmla="*/ 1432704 h 1432704"/>
              <a:gd name="connsiteX40" fmla="*/ 183679 w 6789178"/>
              <a:gd name="connsiteY40" fmla="*/ 1409844 h 1432704"/>
              <a:gd name="connsiteX41" fmla="*/ 206539 w 6789178"/>
              <a:gd name="connsiteY41" fmla="*/ 1386984 h 1432704"/>
              <a:gd name="connsiteX42" fmla="*/ 212734 w 6789178"/>
              <a:gd name="connsiteY42" fmla="*/ 1216177 h 1432704"/>
              <a:gd name="connsiteX43" fmla="*/ 222704 w 6789178"/>
              <a:gd name="connsiteY43" fmla="*/ 1220307 h 1432704"/>
              <a:gd name="connsiteX44" fmla="*/ 229399 w 6789178"/>
              <a:gd name="connsiteY44" fmla="*/ 1236471 h 1432704"/>
              <a:gd name="connsiteX45" fmla="*/ 206539 w 6789178"/>
              <a:gd name="connsiteY45" fmla="*/ 1259331 h 1432704"/>
              <a:gd name="connsiteX46" fmla="*/ 190375 w 6789178"/>
              <a:gd name="connsiteY46" fmla="*/ 1252636 h 1432704"/>
              <a:gd name="connsiteX47" fmla="*/ 185165 w 6789178"/>
              <a:gd name="connsiteY47" fmla="*/ 1240059 h 1432704"/>
              <a:gd name="connsiteX48" fmla="*/ 950606 w 6789178"/>
              <a:gd name="connsiteY48" fmla="*/ 1215149 h 1432704"/>
              <a:gd name="connsiteX49" fmla="*/ 935662 w 6789178"/>
              <a:gd name="connsiteY49" fmla="*/ 1226324 h 1432704"/>
              <a:gd name="connsiteX50" fmla="*/ 938155 w 6789178"/>
              <a:gd name="connsiteY50" fmla="*/ 1220307 h 1432704"/>
              <a:gd name="connsiteX51" fmla="*/ 6579373 w 6789178"/>
              <a:gd name="connsiteY51" fmla="*/ 1213611 h 1432704"/>
              <a:gd name="connsiteX52" fmla="*/ 6602233 w 6789178"/>
              <a:gd name="connsiteY52" fmla="*/ 1236471 h 1432704"/>
              <a:gd name="connsiteX53" fmla="*/ 6579373 w 6789178"/>
              <a:gd name="connsiteY53" fmla="*/ 1259331 h 1432704"/>
              <a:gd name="connsiteX54" fmla="*/ 6556513 w 6789178"/>
              <a:gd name="connsiteY54" fmla="*/ 1236471 h 1432704"/>
              <a:gd name="connsiteX55" fmla="*/ 6579373 w 6789178"/>
              <a:gd name="connsiteY55" fmla="*/ 1213611 h 1432704"/>
              <a:gd name="connsiteX56" fmla="*/ 6392428 w 6789178"/>
              <a:gd name="connsiteY56" fmla="*/ 1213611 h 1432704"/>
              <a:gd name="connsiteX57" fmla="*/ 6415288 w 6789178"/>
              <a:gd name="connsiteY57" fmla="*/ 1236471 h 1432704"/>
              <a:gd name="connsiteX58" fmla="*/ 6392428 w 6789178"/>
              <a:gd name="connsiteY58" fmla="*/ 1259331 h 1432704"/>
              <a:gd name="connsiteX59" fmla="*/ 6369568 w 6789178"/>
              <a:gd name="connsiteY59" fmla="*/ 1236471 h 1432704"/>
              <a:gd name="connsiteX60" fmla="*/ 6392428 w 6789178"/>
              <a:gd name="connsiteY60" fmla="*/ 1213611 h 1432704"/>
              <a:gd name="connsiteX61" fmla="*/ 6205483 w 6789178"/>
              <a:gd name="connsiteY61" fmla="*/ 1213611 h 1432704"/>
              <a:gd name="connsiteX62" fmla="*/ 6228343 w 6789178"/>
              <a:gd name="connsiteY62" fmla="*/ 1236471 h 1432704"/>
              <a:gd name="connsiteX63" fmla="*/ 6205483 w 6789178"/>
              <a:gd name="connsiteY63" fmla="*/ 1259331 h 1432704"/>
              <a:gd name="connsiteX64" fmla="*/ 6182623 w 6789178"/>
              <a:gd name="connsiteY64" fmla="*/ 1236471 h 1432704"/>
              <a:gd name="connsiteX65" fmla="*/ 6205483 w 6789178"/>
              <a:gd name="connsiteY65" fmla="*/ 1213611 h 1432704"/>
              <a:gd name="connsiteX66" fmla="*/ 6018538 w 6789178"/>
              <a:gd name="connsiteY66" fmla="*/ 1213611 h 1432704"/>
              <a:gd name="connsiteX67" fmla="*/ 6041398 w 6789178"/>
              <a:gd name="connsiteY67" fmla="*/ 1236471 h 1432704"/>
              <a:gd name="connsiteX68" fmla="*/ 6018538 w 6789178"/>
              <a:gd name="connsiteY68" fmla="*/ 1259331 h 1432704"/>
              <a:gd name="connsiteX69" fmla="*/ 5995678 w 6789178"/>
              <a:gd name="connsiteY69" fmla="*/ 1236471 h 1432704"/>
              <a:gd name="connsiteX70" fmla="*/ 6018538 w 6789178"/>
              <a:gd name="connsiteY70" fmla="*/ 1213611 h 1432704"/>
              <a:gd name="connsiteX71" fmla="*/ 767374 w 6789178"/>
              <a:gd name="connsiteY71" fmla="*/ 1213611 h 1432704"/>
              <a:gd name="connsiteX72" fmla="*/ 790234 w 6789178"/>
              <a:gd name="connsiteY72" fmla="*/ 1236471 h 1432704"/>
              <a:gd name="connsiteX73" fmla="*/ 767374 w 6789178"/>
              <a:gd name="connsiteY73" fmla="*/ 1259331 h 1432704"/>
              <a:gd name="connsiteX74" fmla="*/ 744514 w 6789178"/>
              <a:gd name="connsiteY74" fmla="*/ 1236471 h 1432704"/>
              <a:gd name="connsiteX75" fmla="*/ 767374 w 6789178"/>
              <a:gd name="connsiteY75" fmla="*/ 1213611 h 1432704"/>
              <a:gd name="connsiteX76" fmla="*/ 580429 w 6789178"/>
              <a:gd name="connsiteY76" fmla="*/ 1213611 h 1432704"/>
              <a:gd name="connsiteX77" fmla="*/ 603289 w 6789178"/>
              <a:gd name="connsiteY77" fmla="*/ 1236471 h 1432704"/>
              <a:gd name="connsiteX78" fmla="*/ 580429 w 6789178"/>
              <a:gd name="connsiteY78" fmla="*/ 1259331 h 1432704"/>
              <a:gd name="connsiteX79" fmla="*/ 557569 w 6789178"/>
              <a:gd name="connsiteY79" fmla="*/ 1236471 h 1432704"/>
              <a:gd name="connsiteX80" fmla="*/ 580429 w 6789178"/>
              <a:gd name="connsiteY80" fmla="*/ 1213611 h 1432704"/>
              <a:gd name="connsiteX81" fmla="*/ 393484 w 6789178"/>
              <a:gd name="connsiteY81" fmla="*/ 1213611 h 1432704"/>
              <a:gd name="connsiteX82" fmla="*/ 416344 w 6789178"/>
              <a:gd name="connsiteY82" fmla="*/ 1236471 h 1432704"/>
              <a:gd name="connsiteX83" fmla="*/ 393484 w 6789178"/>
              <a:gd name="connsiteY83" fmla="*/ 1259331 h 1432704"/>
              <a:gd name="connsiteX84" fmla="*/ 370624 w 6789178"/>
              <a:gd name="connsiteY84" fmla="*/ 1236471 h 1432704"/>
              <a:gd name="connsiteX85" fmla="*/ 393484 w 6789178"/>
              <a:gd name="connsiteY85" fmla="*/ 1213611 h 1432704"/>
              <a:gd name="connsiteX86" fmla="*/ 410549 w 6789178"/>
              <a:gd name="connsiteY86" fmla="*/ 1049107 h 1432704"/>
              <a:gd name="connsiteX87" fmla="*/ 416344 w 6789178"/>
              <a:gd name="connsiteY87" fmla="*/ 1063098 h 1432704"/>
              <a:gd name="connsiteX88" fmla="*/ 393484 w 6789178"/>
              <a:gd name="connsiteY88" fmla="*/ 1085958 h 1432704"/>
              <a:gd name="connsiteX89" fmla="*/ 377320 w 6789178"/>
              <a:gd name="connsiteY89" fmla="*/ 1079263 h 1432704"/>
              <a:gd name="connsiteX90" fmla="*/ 376056 w 6789178"/>
              <a:gd name="connsiteY90" fmla="*/ 1076212 h 1432704"/>
              <a:gd name="connsiteX91" fmla="*/ 6392428 w 6789178"/>
              <a:gd name="connsiteY91" fmla="*/ 1040238 h 1432704"/>
              <a:gd name="connsiteX92" fmla="*/ 6415288 w 6789178"/>
              <a:gd name="connsiteY92" fmla="*/ 1063098 h 1432704"/>
              <a:gd name="connsiteX93" fmla="*/ 6392428 w 6789178"/>
              <a:gd name="connsiteY93" fmla="*/ 1085958 h 1432704"/>
              <a:gd name="connsiteX94" fmla="*/ 6369568 w 6789178"/>
              <a:gd name="connsiteY94" fmla="*/ 1063098 h 1432704"/>
              <a:gd name="connsiteX95" fmla="*/ 6392428 w 6789178"/>
              <a:gd name="connsiteY95" fmla="*/ 1040238 h 1432704"/>
              <a:gd name="connsiteX96" fmla="*/ 6205483 w 6789178"/>
              <a:gd name="connsiteY96" fmla="*/ 1040238 h 1432704"/>
              <a:gd name="connsiteX97" fmla="*/ 6228343 w 6789178"/>
              <a:gd name="connsiteY97" fmla="*/ 1063098 h 1432704"/>
              <a:gd name="connsiteX98" fmla="*/ 6205483 w 6789178"/>
              <a:gd name="connsiteY98" fmla="*/ 1085958 h 1432704"/>
              <a:gd name="connsiteX99" fmla="*/ 6182623 w 6789178"/>
              <a:gd name="connsiteY99" fmla="*/ 1063098 h 1432704"/>
              <a:gd name="connsiteX100" fmla="*/ 6205483 w 6789178"/>
              <a:gd name="connsiteY100" fmla="*/ 1040238 h 1432704"/>
              <a:gd name="connsiteX101" fmla="*/ 6018538 w 6789178"/>
              <a:gd name="connsiteY101" fmla="*/ 1040238 h 1432704"/>
              <a:gd name="connsiteX102" fmla="*/ 6041398 w 6789178"/>
              <a:gd name="connsiteY102" fmla="*/ 1063098 h 1432704"/>
              <a:gd name="connsiteX103" fmla="*/ 6018538 w 6789178"/>
              <a:gd name="connsiteY103" fmla="*/ 1085958 h 1432704"/>
              <a:gd name="connsiteX104" fmla="*/ 5995678 w 6789178"/>
              <a:gd name="connsiteY104" fmla="*/ 1063098 h 1432704"/>
              <a:gd name="connsiteX105" fmla="*/ 6018538 w 6789178"/>
              <a:gd name="connsiteY105" fmla="*/ 1040238 h 1432704"/>
              <a:gd name="connsiteX106" fmla="*/ 5831593 w 6789178"/>
              <a:gd name="connsiteY106" fmla="*/ 1040238 h 1432704"/>
              <a:gd name="connsiteX107" fmla="*/ 5854453 w 6789178"/>
              <a:gd name="connsiteY107" fmla="*/ 1063098 h 1432704"/>
              <a:gd name="connsiteX108" fmla="*/ 5831593 w 6789178"/>
              <a:gd name="connsiteY108" fmla="*/ 1085958 h 1432704"/>
              <a:gd name="connsiteX109" fmla="*/ 5808733 w 6789178"/>
              <a:gd name="connsiteY109" fmla="*/ 1063098 h 1432704"/>
              <a:gd name="connsiteX110" fmla="*/ 5831593 w 6789178"/>
              <a:gd name="connsiteY110" fmla="*/ 1040238 h 1432704"/>
              <a:gd name="connsiteX111" fmla="*/ 5644648 w 6789178"/>
              <a:gd name="connsiteY111" fmla="*/ 1040238 h 1432704"/>
              <a:gd name="connsiteX112" fmla="*/ 5667508 w 6789178"/>
              <a:gd name="connsiteY112" fmla="*/ 1063098 h 1432704"/>
              <a:gd name="connsiteX113" fmla="*/ 5666177 w 6789178"/>
              <a:gd name="connsiteY113" fmla="*/ 1066311 h 1432704"/>
              <a:gd name="connsiteX114" fmla="*/ 5632481 w 6789178"/>
              <a:gd name="connsiteY114" fmla="*/ 1045278 h 1432704"/>
              <a:gd name="connsiteX115" fmla="*/ 1141264 w 6789178"/>
              <a:gd name="connsiteY115" fmla="*/ 1040238 h 1432704"/>
              <a:gd name="connsiteX116" fmla="*/ 1164124 w 6789178"/>
              <a:gd name="connsiteY116" fmla="*/ 1063098 h 1432704"/>
              <a:gd name="connsiteX117" fmla="*/ 1141264 w 6789178"/>
              <a:gd name="connsiteY117" fmla="*/ 1085958 h 1432704"/>
              <a:gd name="connsiteX118" fmla="*/ 1118404 w 6789178"/>
              <a:gd name="connsiteY118" fmla="*/ 1063098 h 1432704"/>
              <a:gd name="connsiteX119" fmla="*/ 1141264 w 6789178"/>
              <a:gd name="connsiteY119" fmla="*/ 1040238 h 1432704"/>
              <a:gd name="connsiteX120" fmla="*/ 954319 w 6789178"/>
              <a:gd name="connsiteY120" fmla="*/ 1040238 h 1432704"/>
              <a:gd name="connsiteX121" fmla="*/ 977179 w 6789178"/>
              <a:gd name="connsiteY121" fmla="*/ 1063098 h 1432704"/>
              <a:gd name="connsiteX122" fmla="*/ 954319 w 6789178"/>
              <a:gd name="connsiteY122" fmla="*/ 1085958 h 1432704"/>
              <a:gd name="connsiteX123" fmla="*/ 931459 w 6789178"/>
              <a:gd name="connsiteY123" fmla="*/ 1063098 h 1432704"/>
              <a:gd name="connsiteX124" fmla="*/ 954319 w 6789178"/>
              <a:gd name="connsiteY124" fmla="*/ 1040238 h 1432704"/>
              <a:gd name="connsiteX125" fmla="*/ 767374 w 6789178"/>
              <a:gd name="connsiteY125" fmla="*/ 1040238 h 1432704"/>
              <a:gd name="connsiteX126" fmla="*/ 790234 w 6789178"/>
              <a:gd name="connsiteY126" fmla="*/ 1063098 h 1432704"/>
              <a:gd name="connsiteX127" fmla="*/ 767374 w 6789178"/>
              <a:gd name="connsiteY127" fmla="*/ 1085958 h 1432704"/>
              <a:gd name="connsiteX128" fmla="*/ 744514 w 6789178"/>
              <a:gd name="connsiteY128" fmla="*/ 1063098 h 1432704"/>
              <a:gd name="connsiteX129" fmla="*/ 767374 w 6789178"/>
              <a:gd name="connsiteY129" fmla="*/ 1040238 h 1432704"/>
              <a:gd name="connsiteX130" fmla="*/ 580429 w 6789178"/>
              <a:gd name="connsiteY130" fmla="*/ 1040238 h 1432704"/>
              <a:gd name="connsiteX131" fmla="*/ 603289 w 6789178"/>
              <a:gd name="connsiteY131" fmla="*/ 1063098 h 1432704"/>
              <a:gd name="connsiteX132" fmla="*/ 580429 w 6789178"/>
              <a:gd name="connsiteY132" fmla="*/ 1085958 h 1432704"/>
              <a:gd name="connsiteX133" fmla="*/ 557569 w 6789178"/>
              <a:gd name="connsiteY133" fmla="*/ 1063098 h 1432704"/>
              <a:gd name="connsiteX134" fmla="*/ 580429 w 6789178"/>
              <a:gd name="connsiteY134" fmla="*/ 1040238 h 1432704"/>
              <a:gd name="connsiteX135" fmla="*/ 6202585 w 6789178"/>
              <a:gd name="connsiteY135" fmla="*/ 868066 h 1432704"/>
              <a:gd name="connsiteX136" fmla="*/ 6226380 w 6789178"/>
              <a:gd name="connsiteY136" fmla="*/ 884987 h 1432704"/>
              <a:gd name="connsiteX137" fmla="*/ 6228343 w 6789178"/>
              <a:gd name="connsiteY137" fmla="*/ 889725 h 1432704"/>
              <a:gd name="connsiteX138" fmla="*/ 6205483 w 6789178"/>
              <a:gd name="connsiteY138" fmla="*/ 912585 h 1432704"/>
              <a:gd name="connsiteX139" fmla="*/ 6182623 w 6789178"/>
              <a:gd name="connsiteY139" fmla="*/ 889725 h 1432704"/>
              <a:gd name="connsiteX140" fmla="*/ 6189319 w 6789178"/>
              <a:gd name="connsiteY140" fmla="*/ 873561 h 1432704"/>
              <a:gd name="connsiteX141" fmla="*/ 6018538 w 6789178"/>
              <a:gd name="connsiteY141" fmla="*/ 866865 h 1432704"/>
              <a:gd name="connsiteX142" fmla="*/ 6041398 w 6789178"/>
              <a:gd name="connsiteY142" fmla="*/ 889725 h 1432704"/>
              <a:gd name="connsiteX143" fmla="*/ 6018538 w 6789178"/>
              <a:gd name="connsiteY143" fmla="*/ 912585 h 1432704"/>
              <a:gd name="connsiteX144" fmla="*/ 5995678 w 6789178"/>
              <a:gd name="connsiteY144" fmla="*/ 889725 h 1432704"/>
              <a:gd name="connsiteX145" fmla="*/ 6018538 w 6789178"/>
              <a:gd name="connsiteY145" fmla="*/ 866865 h 1432704"/>
              <a:gd name="connsiteX146" fmla="*/ 5831593 w 6789178"/>
              <a:gd name="connsiteY146" fmla="*/ 866865 h 1432704"/>
              <a:gd name="connsiteX147" fmla="*/ 5854453 w 6789178"/>
              <a:gd name="connsiteY147" fmla="*/ 889725 h 1432704"/>
              <a:gd name="connsiteX148" fmla="*/ 5831593 w 6789178"/>
              <a:gd name="connsiteY148" fmla="*/ 912585 h 1432704"/>
              <a:gd name="connsiteX149" fmla="*/ 5808733 w 6789178"/>
              <a:gd name="connsiteY149" fmla="*/ 889725 h 1432704"/>
              <a:gd name="connsiteX150" fmla="*/ 5831593 w 6789178"/>
              <a:gd name="connsiteY150" fmla="*/ 866865 h 1432704"/>
              <a:gd name="connsiteX151" fmla="*/ 5644648 w 6789178"/>
              <a:gd name="connsiteY151" fmla="*/ 866865 h 1432704"/>
              <a:gd name="connsiteX152" fmla="*/ 5667508 w 6789178"/>
              <a:gd name="connsiteY152" fmla="*/ 889725 h 1432704"/>
              <a:gd name="connsiteX153" fmla="*/ 5644648 w 6789178"/>
              <a:gd name="connsiteY153" fmla="*/ 912585 h 1432704"/>
              <a:gd name="connsiteX154" fmla="*/ 5621788 w 6789178"/>
              <a:gd name="connsiteY154" fmla="*/ 889725 h 1432704"/>
              <a:gd name="connsiteX155" fmla="*/ 5644648 w 6789178"/>
              <a:gd name="connsiteY155" fmla="*/ 866865 h 1432704"/>
              <a:gd name="connsiteX156" fmla="*/ 5457703 w 6789178"/>
              <a:gd name="connsiteY156" fmla="*/ 866865 h 1432704"/>
              <a:gd name="connsiteX157" fmla="*/ 5480563 w 6789178"/>
              <a:gd name="connsiteY157" fmla="*/ 889725 h 1432704"/>
              <a:gd name="connsiteX158" fmla="*/ 5457703 w 6789178"/>
              <a:gd name="connsiteY158" fmla="*/ 912585 h 1432704"/>
              <a:gd name="connsiteX159" fmla="*/ 5434843 w 6789178"/>
              <a:gd name="connsiteY159" fmla="*/ 889725 h 1432704"/>
              <a:gd name="connsiteX160" fmla="*/ 5457703 w 6789178"/>
              <a:gd name="connsiteY160" fmla="*/ 866865 h 1432704"/>
              <a:gd name="connsiteX161" fmla="*/ 1515154 w 6789178"/>
              <a:gd name="connsiteY161" fmla="*/ 866865 h 1432704"/>
              <a:gd name="connsiteX162" fmla="*/ 1531319 w 6789178"/>
              <a:gd name="connsiteY162" fmla="*/ 873561 h 1432704"/>
              <a:gd name="connsiteX163" fmla="*/ 1534707 w 6789178"/>
              <a:gd name="connsiteY163" fmla="*/ 881740 h 1432704"/>
              <a:gd name="connsiteX164" fmla="*/ 1510999 w 6789178"/>
              <a:gd name="connsiteY164" fmla="*/ 892109 h 1432704"/>
              <a:gd name="connsiteX165" fmla="*/ 1496459 w 6789178"/>
              <a:gd name="connsiteY165" fmla="*/ 899780 h 1432704"/>
              <a:gd name="connsiteX166" fmla="*/ 1492294 w 6789178"/>
              <a:gd name="connsiteY166" fmla="*/ 889725 h 1432704"/>
              <a:gd name="connsiteX167" fmla="*/ 1515154 w 6789178"/>
              <a:gd name="connsiteY167" fmla="*/ 866865 h 1432704"/>
              <a:gd name="connsiteX168" fmla="*/ 1328209 w 6789178"/>
              <a:gd name="connsiteY168" fmla="*/ 866865 h 1432704"/>
              <a:gd name="connsiteX169" fmla="*/ 1351069 w 6789178"/>
              <a:gd name="connsiteY169" fmla="*/ 889725 h 1432704"/>
              <a:gd name="connsiteX170" fmla="*/ 1328209 w 6789178"/>
              <a:gd name="connsiteY170" fmla="*/ 912585 h 1432704"/>
              <a:gd name="connsiteX171" fmla="*/ 1305349 w 6789178"/>
              <a:gd name="connsiteY171" fmla="*/ 889725 h 1432704"/>
              <a:gd name="connsiteX172" fmla="*/ 1328209 w 6789178"/>
              <a:gd name="connsiteY172" fmla="*/ 866865 h 1432704"/>
              <a:gd name="connsiteX173" fmla="*/ 1141264 w 6789178"/>
              <a:gd name="connsiteY173" fmla="*/ 866865 h 1432704"/>
              <a:gd name="connsiteX174" fmla="*/ 1164124 w 6789178"/>
              <a:gd name="connsiteY174" fmla="*/ 889725 h 1432704"/>
              <a:gd name="connsiteX175" fmla="*/ 1141264 w 6789178"/>
              <a:gd name="connsiteY175" fmla="*/ 912585 h 1432704"/>
              <a:gd name="connsiteX176" fmla="*/ 1118404 w 6789178"/>
              <a:gd name="connsiteY176" fmla="*/ 889725 h 1432704"/>
              <a:gd name="connsiteX177" fmla="*/ 1141264 w 6789178"/>
              <a:gd name="connsiteY177" fmla="*/ 866865 h 1432704"/>
              <a:gd name="connsiteX178" fmla="*/ 954319 w 6789178"/>
              <a:gd name="connsiteY178" fmla="*/ 866865 h 1432704"/>
              <a:gd name="connsiteX179" fmla="*/ 977179 w 6789178"/>
              <a:gd name="connsiteY179" fmla="*/ 889725 h 1432704"/>
              <a:gd name="connsiteX180" fmla="*/ 954319 w 6789178"/>
              <a:gd name="connsiteY180" fmla="*/ 912585 h 1432704"/>
              <a:gd name="connsiteX181" fmla="*/ 931459 w 6789178"/>
              <a:gd name="connsiteY181" fmla="*/ 889725 h 1432704"/>
              <a:gd name="connsiteX182" fmla="*/ 954319 w 6789178"/>
              <a:gd name="connsiteY182" fmla="*/ 866865 h 1432704"/>
              <a:gd name="connsiteX183" fmla="*/ 767374 w 6789178"/>
              <a:gd name="connsiteY183" fmla="*/ 866865 h 1432704"/>
              <a:gd name="connsiteX184" fmla="*/ 790234 w 6789178"/>
              <a:gd name="connsiteY184" fmla="*/ 889725 h 1432704"/>
              <a:gd name="connsiteX185" fmla="*/ 767374 w 6789178"/>
              <a:gd name="connsiteY185" fmla="*/ 912585 h 1432704"/>
              <a:gd name="connsiteX186" fmla="*/ 744514 w 6789178"/>
              <a:gd name="connsiteY186" fmla="*/ 889725 h 1432704"/>
              <a:gd name="connsiteX187" fmla="*/ 767374 w 6789178"/>
              <a:gd name="connsiteY187" fmla="*/ 866865 h 1432704"/>
              <a:gd name="connsiteX188" fmla="*/ 5831593 w 6789178"/>
              <a:gd name="connsiteY188" fmla="*/ 693492 h 1432704"/>
              <a:gd name="connsiteX189" fmla="*/ 5854453 w 6789178"/>
              <a:gd name="connsiteY189" fmla="*/ 716352 h 1432704"/>
              <a:gd name="connsiteX190" fmla="*/ 5831593 w 6789178"/>
              <a:gd name="connsiteY190" fmla="*/ 739212 h 1432704"/>
              <a:gd name="connsiteX191" fmla="*/ 5808733 w 6789178"/>
              <a:gd name="connsiteY191" fmla="*/ 716352 h 1432704"/>
              <a:gd name="connsiteX192" fmla="*/ 5831593 w 6789178"/>
              <a:gd name="connsiteY192" fmla="*/ 693492 h 1432704"/>
              <a:gd name="connsiteX193" fmla="*/ 5644648 w 6789178"/>
              <a:gd name="connsiteY193" fmla="*/ 693492 h 1432704"/>
              <a:gd name="connsiteX194" fmla="*/ 5667508 w 6789178"/>
              <a:gd name="connsiteY194" fmla="*/ 716352 h 1432704"/>
              <a:gd name="connsiteX195" fmla="*/ 5644648 w 6789178"/>
              <a:gd name="connsiteY195" fmla="*/ 739212 h 1432704"/>
              <a:gd name="connsiteX196" fmla="*/ 5621788 w 6789178"/>
              <a:gd name="connsiteY196" fmla="*/ 716352 h 1432704"/>
              <a:gd name="connsiteX197" fmla="*/ 5644648 w 6789178"/>
              <a:gd name="connsiteY197" fmla="*/ 693492 h 1432704"/>
              <a:gd name="connsiteX198" fmla="*/ 5457703 w 6789178"/>
              <a:gd name="connsiteY198" fmla="*/ 693492 h 1432704"/>
              <a:gd name="connsiteX199" fmla="*/ 5480563 w 6789178"/>
              <a:gd name="connsiteY199" fmla="*/ 716352 h 1432704"/>
              <a:gd name="connsiteX200" fmla="*/ 5457703 w 6789178"/>
              <a:gd name="connsiteY200" fmla="*/ 739212 h 1432704"/>
              <a:gd name="connsiteX201" fmla="*/ 5434843 w 6789178"/>
              <a:gd name="connsiteY201" fmla="*/ 716352 h 1432704"/>
              <a:gd name="connsiteX202" fmla="*/ 5457703 w 6789178"/>
              <a:gd name="connsiteY202" fmla="*/ 693492 h 1432704"/>
              <a:gd name="connsiteX203" fmla="*/ 5270758 w 6789178"/>
              <a:gd name="connsiteY203" fmla="*/ 693492 h 1432704"/>
              <a:gd name="connsiteX204" fmla="*/ 5293618 w 6789178"/>
              <a:gd name="connsiteY204" fmla="*/ 716352 h 1432704"/>
              <a:gd name="connsiteX205" fmla="*/ 5270758 w 6789178"/>
              <a:gd name="connsiteY205" fmla="*/ 739212 h 1432704"/>
              <a:gd name="connsiteX206" fmla="*/ 5247898 w 6789178"/>
              <a:gd name="connsiteY206" fmla="*/ 716352 h 1432704"/>
              <a:gd name="connsiteX207" fmla="*/ 5270758 w 6789178"/>
              <a:gd name="connsiteY207" fmla="*/ 693492 h 1432704"/>
              <a:gd name="connsiteX208" fmla="*/ 5083813 w 6789178"/>
              <a:gd name="connsiteY208" fmla="*/ 693492 h 1432704"/>
              <a:gd name="connsiteX209" fmla="*/ 5106673 w 6789178"/>
              <a:gd name="connsiteY209" fmla="*/ 716352 h 1432704"/>
              <a:gd name="connsiteX210" fmla="*/ 5083813 w 6789178"/>
              <a:gd name="connsiteY210" fmla="*/ 739212 h 1432704"/>
              <a:gd name="connsiteX211" fmla="*/ 5060953 w 6789178"/>
              <a:gd name="connsiteY211" fmla="*/ 716352 h 1432704"/>
              <a:gd name="connsiteX212" fmla="*/ 5083813 w 6789178"/>
              <a:gd name="connsiteY212" fmla="*/ 693492 h 1432704"/>
              <a:gd name="connsiteX213" fmla="*/ 4896868 w 6789178"/>
              <a:gd name="connsiteY213" fmla="*/ 693492 h 1432704"/>
              <a:gd name="connsiteX214" fmla="*/ 4919728 w 6789178"/>
              <a:gd name="connsiteY214" fmla="*/ 716352 h 1432704"/>
              <a:gd name="connsiteX215" fmla="*/ 4919203 w 6789178"/>
              <a:gd name="connsiteY215" fmla="*/ 717621 h 1432704"/>
              <a:gd name="connsiteX216" fmla="*/ 4879303 w 6789178"/>
              <a:gd name="connsiteY216" fmla="*/ 703570 h 1432704"/>
              <a:gd name="connsiteX217" fmla="*/ 4880704 w 6789178"/>
              <a:gd name="connsiteY217" fmla="*/ 700188 h 1432704"/>
              <a:gd name="connsiteX218" fmla="*/ 4896868 w 6789178"/>
              <a:gd name="connsiteY218" fmla="*/ 693492 h 1432704"/>
              <a:gd name="connsiteX219" fmla="*/ 1889044 w 6789178"/>
              <a:gd name="connsiteY219" fmla="*/ 693492 h 1432704"/>
              <a:gd name="connsiteX220" fmla="*/ 1911904 w 6789178"/>
              <a:gd name="connsiteY220" fmla="*/ 716352 h 1432704"/>
              <a:gd name="connsiteX221" fmla="*/ 1907353 w 6789178"/>
              <a:gd name="connsiteY221" fmla="*/ 727340 h 1432704"/>
              <a:gd name="connsiteX222" fmla="*/ 1881966 w 6789178"/>
              <a:gd name="connsiteY222" fmla="*/ 736280 h 1432704"/>
              <a:gd name="connsiteX223" fmla="*/ 1872880 w 6789178"/>
              <a:gd name="connsiteY223" fmla="*/ 732517 h 1432704"/>
              <a:gd name="connsiteX224" fmla="*/ 1866184 w 6789178"/>
              <a:gd name="connsiteY224" fmla="*/ 716352 h 1432704"/>
              <a:gd name="connsiteX225" fmla="*/ 1889044 w 6789178"/>
              <a:gd name="connsiteY225" fmla="*/ 693492 h 1432704"/>
              <a:gd name="connsiteX226" fmla="*/ 1702099 w 6789178"/>
              <a:gd name="connsiteY226" fmla="*/ 693492 h 1432704"/>
              <a:gd name="connsiteX227" fmla="*/ 1724959 w 6789178"/>
              <a:gd name="connsiteY227" fmla="*/ 716352 h 1432704"/>
              <a:gd name="connsiteX228" fmla="*/ 1702099 w 6789178"/>
              <a:gd name="connsiteY228" fmla="*/ 739212 h 1432704"/>
              <a:gd name="connsiteX229" fmla="*/ 1679239 w 6789178"/>
              <a:gd name="connsiteY229" fmla="*/ 716352 h 1432704"/>
              <a:gd name="connsiteX230" fmla="*/ 1702099 w 6789178"/>
              <a:gd name="connsiteY230" fmla="*/ 693492 h 1432704"/>
              <a:gd name="connsiteX231" fmla="*/ 1515154 w 6789178"/>
              <a:gd name="connsiteY231" fmla="*/ 693492 h 1432704"/>
              <a:gd name="connsiteX232" fmla="*/ 1538014 w 6789178"/>
              <a:gd name="connsiteY232" fmla="*/ 716352 h 1432704"/>
              <a:gd name="connsiteX233" fmla="*/ 1515154 w 6789178"/>
              <a:gd name="connsiteY233" fmla="*/ 739212 h 1432704"/>
              <a:gd name="connsiteX234" fmla="*/ 1492294 w 6789178"/>
              <a:gd name="connsiteY234" fmla="*/ 716352 h 1432704"/>
              <a:gd name="connsiteX235" fmla="*/ 1515154 w 6789178"/>
              <a:gd name="connsiteY235" fmla="*/ 693492 h 1432704"/>
              <a:gd name="connsiteX236" fmla="*/ 1328209 w 6789178"/>
              <a:gd name="connsiteY236" fmla="*/ 693492 h 1432704"/>
              <a:gd name="connsiteX237" fmla="*/ 1351069 w 6789178"/>
              <a:gd name="connsiteY237" fmla="*/ 716352 h 1432704"/>
              <a:gd name="connsiteX238" fmla="*/ 1328209 w 6789178"/>
              <a:gd name="connsiteY238" fmla="*/ 739212 h 1432704"/>
              <a:gd name="connsiteX239" fmla="*/ 1305349 w 6789178"/>
              <a:gd name="connsiteY239" fmla="*/ 716352 h 1432704"/>
              <a:gd name="connsiteX240" fmla="*/ 1328209 w 6789178"/>
              <a:gd name="connsiteY240" fmla="*/ 693492 h 1432704"/>
              <a:gd name="connsiteX241" fmla="*/ 1141264 w 6789178"/>
              <a:gd name="connsiteY241" fmla="*/ 693492 h 1432704"/>
              <a:gd name="connsiteX242" fmla="*/ 1164124 w 6789178"/>
              <a:gd name="connsiteY242" fmla="*/ 716352 h 1432704"/>
              <a:gd name="connsiteX243" fmla="*/ 1141264 w 6789178"/>
              <a:gd name="connsiteY243" fmla="*/ 739212 h 1432704"/>
              <a:gd name="connsiteX244" fmla="*/ 1118404 w 6789178"/>
              <a:gd name="connsiteY244" fmla="*/ 716352 h 1432704"/>
              <a:gd name="connsiteX245" fmla="*/ 1141264 w 6789178"/>
              <a:gd name="connsiteY245" fmla="*/ 693492 h 1432704"/>
              <a:gd name="connsiteX246" fmla="*/ 954319 w 6789178"/>
              <a:gd name="connsiteY246" fmla="*/ 693492 h 1432704"/>
              <a:gd name="connsiteX247" fmla="*/ 977179 w 6789178"/>
              <a:gd name="connsiteY247" fmla="*/ 716352 h 1432704"/>
              <a:gd name="connsiteX248" fmla="*/ 954319 w 6789178"/>
              <a:gd name="connsiteY248" fmla="*/ 739212 h 1432704"/>
              <a:gd name="connsiteX249" fmla="*/ 931459 w 6789178"/>
              <a:gd name="connsiteY249" fmla="*/ 716352 h 1432704"/>
              <a:gd name="connsiteX250" fmla="*/ 954319 w 6789178"/>
              <a:gd name="connsiteY250" fmla="*/ 693492 h 1432704"/>
              <a:gd name="connsiteX251" fmla="*/ 1159252 w 6789178"/>
              <a:gd name="connsiteY251" fmla="*/ 554743 h 1432704"/>
              <a:gd name="connsiteX252" fmla="*/ 1157429 w 6789178"/>
              <a:gd name="connsiteY252" fmla="*/ 559144 h 1432704"/>
              <a:gd name="connsiteX253" fmla="*/ 1141264 w 6789178"/>
              <a:gd name="connsiteY253" fmla="*/ 565839 h 1432704"/>
              <a:gd name="connsiteX254" fmla="*/ 1139231 w 6789178"/>
              <a:gd name="connsiteY254" fmla="*/ 564997 h 1432704"/>
              <a:gd name="connsiteX255" fmla="*/ 5635060 w 6789178"/>
              <a:gd name="connsiteY255" fmla="*/ 524091 h 1432704"/>
              <a:gd name="connsiteX256" fmla="*/ 5666315 w 6789178"/>
              <a:gd name="connsiteY256" fmla="*/ 540099 h 1432704"/>
              <a:gd name="connsiteX257" fmla="*/ 5667508 w 6789178"/>
              <a:gd name="connsiteY257" fmla="*/ 542979 h 1432704"/>
              <a:gd name="connsiteX258" fmla="*/ 5644648 w 6789178"/>
              <a:gd name="connsiteY258" fmla="*/ 565839 h 1432704"/>
              <a:gd name="connsiteX259" fmla="*/ 5621788 w 6789178"/>
              <a:gd name="connsiteY259" fmla="*/ 542979 h 1432704"/>
              <a:gd name="connsiteX260" fmla="*/ 5628484 w 6789178"/>
              <a:gd name="connsiteY260" fmla="*/ 526815 h 1432704"/>
              <a:gd name="connsiteX261" fmla="*/ 5457703 w 6789178"/>
              <a:gd name="connsiteY261" fmla="*/ 520119 h 1432704"/>
              <a:gd name="connsiteX262" fmla="*/ 5480563 w 6789178"/>
              <a:gd name="connsiteY262" fmla="*/ 542979 h 1432704"/>
              <a:gd name="connsiteX263" fmla="*/ 5457703 w 6789178"/>
              <a:gd name="connsiteY263" fmla="*/ 565839 h 1432704"/>
              <a:gd name="connsiteX264" fmla="*/ 5434843 w 6789178"/>
              <a:gd name="connsiteY264" fmla="*/ 542979 h 1432704"/>
              <a:gd name="connsiteX265" fmla="*/ 5457703 w 6789178"/>
              <a:gd name="connsiteY265" fmla="*/ 520119 h 1432704"/>
              <a:gd name="connsiteX266" fmla="*/ 5270758 w 6789178"/>
              <a:gd name="connsiteY266" fmla="*/ 520119 h 1432704"/>
              <a:gd name="connsiteX267" fmla="*/ 5293618 w 6789178"/>
              <a:gd name="connsiteY267" fmla="*/ 542979 h 1432704"/>
              <a:gd name="connsiteX268" fmla="*/ 5270758 w 6789178"/>
              <a:gd name="connsiteY268" fmla="*/ 565839 h 1432704"/>
              <a:gd name="connsiteX269" fmla="*/ 5247898 w 6789178"/>
              <a:gd name="connsiteY269" fmla="*/ 542979 h 1432704"/>
              <a:gd name="connsiteX270" fmla="*/ 5270758 w 6789178"/>
              <a:gd name="connsiteY270" fmla="*/ 520119 h 1432704"/>
              <a:gd name="connsiteX271" fmla="*/ 5083813 w 6789178"/>
              <a:gd name="connsiteY271" fmla="*/ 520119 h 1432704"/>
              <a:gd name="connsiteX272" fmla="*/ 5106673 w 6789178"/>
              <a:gd name="connsiteY272" fmla="*/ 542979 h 1432704"/>
              <a:gd name="connsiteX273" fmla="*/ 5083813 w 6789178"/>
              <a:gd name="connsiteY273" fmla="*/ 565839 h 1432704"/>
              <a:gd name="connsiteX274" fmla="*/ 5060953 w 6789178"/>
              <a:gd name="connsiteY274" fmla="*/ 542979 h 1432704"/>
              <a:gd name="connsiteX275" fmla="*/ 5083813 w 6789178"/>
              <a:gd name="connsiteY275" fmla="*/ 520119 h 1432704"/>
              <a:gd name="connsiteX276" fmla="*/ 4896868 w 6789178"/>
              <a:gd name="connsiteY276" fmla="*/ 520119 h 1432704"/>
              <a:gd name="connsiteX277" fmla="*/ 4919728 w 6789178"/>
              <a:gd name="connsiteY277" fmla="*/ 542979 h 1432704"/>
              <a:gd name="connsiteX278" fmla="*/ 4896868 w 6789178"/>
              <a:gd name="connsiteY278" fmla="*/ 565839 h 1432704"/>
              <a:gd name="connsiteX279" fmla="*/ 4874008 w 6789178"/>
              <a:gd name="connsiteY279" fmla="*/ 542979 h 1432704"/>
              <a:gd name="connsiteX280" fmla="*/ 4896868 w 6789178"/>
              <a:gd name="connsiteY280" fmla="*/ 520119 h 1432704"/>
              <a:gd name="connsiteX281" fmla="*/ 4709923 w 6789178"/>
              <a:gd name="connsiteY281" fmla="*/ 520119 h 1432704"/>
              <a:gd name="connsiteX282" fmla="*/ 4732783 w 6789178"/>
              <a:gd name="connsiteY282" fmla="*/ 542979 h 1432704"/>
              <a:gd name="connsiteX283" fmla="*/ 4709923 w 6789178"/>
              <a:gd name="connsiteY283" fmla="*/ 565839 h 1432704"/>
              <a:gd name="connsiteX284" fmla="*/ 4687063 w 6789178"/>
              <a:gd name="connsiteY284" fmla="*/ 542979 h 1432704"/>
              <a:gd name="connsiteX285" fmla="*/ 4709923 w 6789178"/>
              <a:gd name="connsiteY285" fmla="*/ 520119 h 1432704"/>
              <a:gd name="connsiteX286" fmla="*/ 4522978 w 6789178"/>
              <a:gd name="connsiteY286" fmla="*/ 520119 h 1432704"/>
              <a:gd name="connsiteX287" fmla="*/ 4545838 w 6789178"/>
              <a:gd name="connsiteY287" fmla="*/ 542979 h 1432704"/>
              <a:gd name="connsiteX288" fmla="*/ 4522978 w 6789178"/>
              <a:gd name="connsiteY288" fmla="*/ 565839 h 1432704"/>
              <a:gd name="connsiteX289" fmla="*/ 4500118 w 6789178"/>
              <a:gd name="connsiteY289" fmla="*/ 542979 h 1432704"/>
              <a:gd name="connsiteX290" fmla="*/ 4522978 w 6789178"/>
              <a:gd name="connsiteY290" fmla="*/ 520119 h 1432704"/>
              <a:gd name="connsiteX291" fmla="*/ 4336033 w 6789178"/>
              <a:gd name="connsiteY291" fmla="*/ 520119 h 1432704"/>
              <a:gd name="connsiteX292" fmla="*/ 4358893 w 6789178"/>
              <a:gd name="connsiteY292" fmla="*/ 542979 h 1432704"/>
              <a:gd name="connsiteX293" fmla="*/ 4353603 w 6789178"/>
              <a:gd name="connsiteY293" fmla="*/ 555752 h 1432704"/>
              <a:gd name="connsiteX294" fmla="*/ 4315436 w 6789178"/>
              <a:gd name="connsiteY294" fmla="*/ 548443 h 1432704"/>
              <a:gd name="connsiteX295" fmla="*/ 4313173 w 6789178"/>
              <a:gd name="connsiteY295" fmla="*/ 542979 h 1432704"/>
              <a:gd name="connsiteX296" fmla="*/ 4336033 w 6789178"/>
              <a:gd name="connsiteY296" fmla="*/ 520119 h 1432704"/>
              <a:gd name="connsiteX297" fmla="*/ 2636824 w 6789178"/>
              <a:gd name="connsiteY297" fmla="*/ 520119 h 1432704"/>
              <a:gd name="connsiteX298" fmla="*/ 2652567 w 6789178"/>
              <a:gd name="connsiteY298" fmla="*/ 526640 h 1432704"/>
              <a:gd name="connsiteX299" fmla="*/ 2617989 w 6789178"/>
              <a:gd name="connsiteY299" fmla="*/ 533262 h 1432704"/>
              <a:gd name="connsiteX300" fmla="*/ 2620660 w 6789178"/>
              <a:gd name="connsiteY300" fmla="*/ 526815 h 1432704"/>
              <a:gd name="connsiteX301" fmla="*/ 2636824 w 6789178"/>
              <a:gd name="connsiteY301" fmla="*/ 520119 h 1432704"/>
              <a:gd name="connsiteX302" fmla="*/ 2449879 w 6789178"/>
              <a:gd name="connsiteY302" fmla="*/ 520119 h 1432704"/>
              <a:gd name="connsiteX303" fmla="*/ 2472739 w 6789178"/>
              <a:gd name="connsiteY303" fmla="*/ 542979 h 1432704"/>
              <a:gd name="connsiteX304" fmla="*/ 2466044 w 6789178"/>
              <a:gd name="connsiteY304" fmla="*/ 559144 h 1432704"/>
              <a:gd name="connsiteX305" fmla="*/ 2451598 w 6789178"/>
              <a:gd name="connsiteY305" fmla="*/ 565127 h 1432704"/>
              <a:gd name="connsiteX306" fmla="*/ 2449247 w 6789178"/>
              <a:gd name="connsiteY306" fmla="*/ 565577 h 1432704"/>
              <a:gd name="connsiteX307" fmla="*/ 2433715 w 6789178"/>
              <a:gd name="connsiteY307" fmla="*/ 559144 h 1432704"/>
              <a:gd name="connsiteX308" fmla="*/ 2427019 w 6789178"/>
              <a:gd name="connsiteY308" fmla="*/ 542979 h 1432704"/>
              <a:gd name="connsiteX309" fmla="*/ 2449879 w 6789178"/>
              <a:gd name="connsiteY309" fmla="*/ 520119 h 1432704"/>
              <a:gd name="connsiteX310" fmla="*/ 2262934 w 6789178"/>
              <a:gd name="connsiteY310" fmla="*/ 520119 h 1432704"/>
              <a:gd name="connsiteX311" fmla="*/ 2285794 w 6789178"/>
              <a:gd name="connsiteY311" fmla="*/ 542979 h 1432704"/>
              <a:gd name="connsiteX312" fmla="*/ 2262934 w 6789178"/>
              <a:gd name="connsiteY312" fmla="*/ 565839 h 1432704"/>
              <a:gd name="connsiteX313" fmla="*/ 2240074 w 6789178"/>
              <a:gd name="connsiteY313" fmla="*/ 542979 h 1432704"/>
              <a:gd name="connsiteX314" fmla="*/ 2262934 w 6789178"/>
              <a:gd name="connsiteY314" fmla="*/ 520119 h 1432704"/>
              <a:gd name="connsiteX315" fmla="*/ 2075989 w 6789178"/>
              <a:gd name="connsiteY315" fmla="*/ 520119 h 1432704"/>
              <a:gd name="connsiteX316" fmla="*/ 2098849 w 6789178"/>
              <a:gd name="connsiteY316" fmla="*/ 542979 h 1432704"/>
              <a:gd name="connsiteX317" fmla="*/ 2075989 w 6789178"/>
              <a:gd name="connsiteY317" fmla="*/ 565839 h 1432704"/>
              <a:gd name="connsiteX318" fmla="*/ 2053129 w 6789178"/>
              <a:gd name="connsiteY318" fmla="*/ 542979 h 1432704"/>
              <a:gd name="connsiteX319" fmla="*/ 2075989 w 6789178"/>
              <a:gd name="connsiteY319" fmla="*/ 520119 h 1432704"/>
              <a:gd name="connsiteX320" fmla="*/ 1889044 w 6789178"/>
              <a:gd name="connsiteY320" fmla="*/ 520119 h 1432704"/>
              <a:gd name="connsiteX321" fmla="*/ 1911904 w 6789178"/>
              <a:gd name="connsiteY321" fmla="*/ 542979 h 1432704"/>
              <a:gd name="connsiteX322" fmla="*/ 1889044 w 6789178"/>
              <a:gd name="connsiteY322" fmla="*/ 565839 h 1432704"/>
              <a:gd name="connsiteX323" fmla="*/ 1866184 w 6789178"/>
              <a:gd name="connsiteY323" fmla="*/ 542979 h 1432704"/>
              <a:gd name="connsiteX324" fmla="*/ 1889044 w 6789178"/>
              <a:gd name="connsiteY324" fmla="*/ 520119 h 1432704"/>
              <a:gd name="connsiteX325" fmla="*/ 1702099 w 6789178"/>
              <a:gd name="connsiteY325" fmla="*/ 520119 h 1432704"/>
              <a:gd name="connsiteX326" fmla="*/ 1724959 w 6789178"/>
              <a:gd name="connsiteY326" fmla="*/ 542979 h 1432704"/>
              <a:gd name="connsiteX327" fmla="*/ 1702099 w 6789178"/>
              <a:gd name="connsiteY327" fmla="*/ 565839 h 1432704"/>
              <a:gd name="connsiteX328" fmla="*/ 1679239 w 6789178"/>
              <a:gd name="connsiteY328" fmla="*/ 542979 h 1432704"/>
              <a:gd name="connsiteX329" fmla="*/ 1702099 w 6789178"/>
              <a:gd name="connsiteY329" fmla="*/ 520119 h 1432704"/>
              <a:gd name="connsiteX330" fmla="*/ 1515154 w 6789178"/>
              <a:gd name="connsiteY330" fmla="*/ 520119 h 1432704"/>
              <a:gd name="connsiteX331" fmla="*/ 1538014 w 6789178"/>
              <a:gd name="connsiteY331" fmla="*/ 542979 h 1432704"/>
              <a:gd name="connsiteX332" fmla="*/ 1515154 w 6789178"/>
              <a:gd name="connsiteY332" fmla="*/ 565839 h 1432704"/>
              <a:gd name="connsiteX333" fmla="*/ 1492294 w 6789178"/>
              <a:gd name="connsiteY333" fmla="*/ 542979 h 1432704"/>
              <a:gd name="connsiteX334" fmla="*/ 1515154 w 6789178"/>
              <a:gd name="connsiteY334" fmla="*/ 520119 h 1432704"/>
              <a:gd name="connsiteX335" fmla="*/ 1328209 w 6789178"/>
              <a:gd name="connsiteY335" fmla="*/ 520119 h 1432704"/>
              <a:gd name="connsiteX336" fmla="*/ 1351069 w 6789178"/>
              <a:gd name="connsiteY336" fmla="*/ 542979 h 1432704"/>
              <a:gd name="connsiteX337" fmla="*/ 1328209 w 6789178"/>
              <a:gd name="connsiteY337" fmla="*/ 565839 h 1432704"/>
              <a:gd name="connsiteX338" fmla="*/ 1305349 w 6789178"/>
              <a:gd name="connsiteY338" fmla="*/ 542979 h 1432704"/>
              <a:gd name="connsiteX339" fmla="*/ 1328209 w 6789178"/>
              <a:gd name="connsiteY339" fmla="*/ 520119 h 1432704"/>
              <a:gd name="connsiteX340" fmla="*/ 1536305 w 6789178"/>
              <a:gd name="connsiteY340" fmla="*/ 373733 h 1432704"/>
              <a:gd name="connsiteX341" fmla="*/ 1531319 w 6789178"/>
              <a:gd name="connsiteY341" fmla="*/ 385771 h 1432704"/>
              <a:gd name="connsiteX342" fmla="*/ 1515154 w 6789178"/>
              <a:gd name="connsiteY342" fmla="*/ 392466 h 1432704"/>
              <a:gd name="connsiteX343" fmla="*/ 1504568 w 6789178"/>
              <a:gd name="connsiteY343" fmla="*/ 388081 h 1432704"/>
              <a:gd name="connsiteX344" fmla="*/ 5261225 w 6789178"/>
              <a:gd name="connsiteY344" fmla="*/ 350695 h 1432704"/>
              <a:gd name="connsiteX345" fmla="*/ 5290579 w 6789178"/>
              <a:gd name="connsiteY345" fmla="*/ 362269 h 1432704"/>
              <a:gd name="connsiteX346" fmla="*/ 5293618 w 6789178"/>
              <a:gd name="connsiteY346" fmla="*/ 369606 h 1432704"/>
              <a:gd name="connsiteX347" fmla="*/ 5270758 w 6789178"/>
              <a:gd name="connsiteY347" fmla="*/ 392466 h 1432704"/>
              <a:gd name="connsiteX348" fmla="*/ 5247898 w 6789178"/>
              <a:gd name="connsiteY348" fmla="*/ 369606 h 1432704"/>
              <a:gd name="connsiteX349" fmla="*/ 5254594 w 6789178"/>
              <a:gd name="connsiteY349" fmla="*/ 353442 h 1432704"/>
              <a:gd name="connsiteX350" fmla="*/ 5083813 w 6789178"/>
              <a:gd name="connsiteY350" fmla="*/ 346746 h 1432704"/>
              <a:gd name="connsiteX351" fmla="*/ 5106673 w 6789178"/>
              <a:gd name="connsiteY351" fmla="*/ 369606 h 1432704"/>
              <a:gd name="connsiteX352" fmla="*/ 5083813 w 6789178"/>
              <a:gd name="connsiteY352" fmla="*/ 392466 h 1432704"/>
              <a:gd name="connsiteX353" fmla="*/ 5060953 w 6789178"/>
              <a:gd name="connsiteY353" fmla="*/ 369606 h 1432704"/>
              <a:gd name="connsiteX354" fmla="*/ 5083813 w 6789178"/>
              <a:gd name="connsiteY354" fmla="*/ 346746 h 1432704"/>
              <a:gd name="connsiteX355" fmla="*/ 4896868 w 6789178"/>
              <a:gd name="connsiteY355" fmla="*/ 346746 h 1432704"/>
              <a:gd name="connsiteX356" fmla="*/ 4919728 w 6789178"/>
              <a:gd name="connsiteY356" fmla="*/ 369606 h 1432704"/>
              <a:gd name="connsiteX357" fmla="*/ 4896868 w 6789178"/>
              <a:gd name="connsiteY357" fmla="*/ 392466 h 1432704"/>
              <a:gd name="connsiteX358" fmla="*/ 4874008 w 6789178"/>
              <a:gd name="connsiteY358" fmla="*/ 369606 h 1432704"/>
              <a:gd name="connsiteX359" fmla="*/ 4896868 w 6789178"/>
              <a:gd name="connsiteY359" fmla="*/ 346746 h 1432704"/>
              <a:gd name="connsiteX360" fmla="*/ 4709923 w 6789178"/>
              <a:gd name="connsiteY360" fmla="*/ 346746 h 1432704"/>
              <a:gd name="connsiteX361" fmla="*/ 4732783 w 6789178"/>
              <a:gd name="connsiteY361" fmla="*/ 369606 h 1432704"/>
              <a:gd name="connsiteX362" fmla="*/ 4709923 w 6789178"/>
              <a:gd name="connsiteY362" fmla="*/ 392466 h 1432704"/>
              <a:gd name="connsiteX363" fmla="*/ 4687063 w 6789178"/>
              <a:gd name="connsiteY363" fmla="*/ 369606 h 1432704"/>
              <a:gd name="connsiteX364" fmla="*/ 4709923 w 6789178"/>
              <a:gd name="connsiteY364" fmla="*/ 346746 h 1432704"/>
              <a:gd name="connsiteX365" fmla="*/ 4522978 w 6789178"/>
              <a:gd name="connsiteY365" fmla="*/ 346746 h 1432704"/>
              <a:gd name="connsiteX366" fmla="*/ 4545838 w 6789178"/>
              <a:gd name="connsiteY366" fmla="*/ 369606 h 1432704"/>
              <a:gd name="connsiteX367" fmla="*/ 4522978 w 6789178"/>
              <a:gd name="connsiteY367" fmla="*/ 392466 h 1432704"/>
              <a:gd name="connsiteX368" fmla="*/ 4500118 w 6789178"/>
              <a:gd name="connsiteY368" fmla="*/ 369606 h 1432704"/>
              <a:gd name="connsiteX369" fmla="*/ 4522978 w 6789178"/>
              <a:gd name="connsiteY369" fmla="*/ 346746 h 1432704"/>
              <a:gd name="connsiteX370" fmla="*/ 4336033 w 6789178"/>
              <a:gd name="connsiteY370" fmla="*/ 346746 h 1432704"/>
              <a:gd name="connsiteX371" fmla="*/ 4358893 w 6789178"/>
              <a:gd name="connsiteY371" fmla="*/ 369606 h 1432704"/>
              <a:gd name="connsiteX372" fmla="*/ 4336033 w 6789178"/>
              <a:gd name="connsiteY372" fmla="*/ 392466 h 1432704"/>
              <a:gd name="connsiteX373" fmla="*/ 4313173 w 6789178"/>
              <a:gd name="connsiteY373" fmla="*/ 369606 h 1432704"/>
              <a:gd name="connsiteX374" fmla="*/ 4336033 w 6789178"/>
              <a:gd name="connsiteY374" fmla="*/ 346746 h 1432704"/>
              <a:gd name="connsiteX375" fmla="*/ 4132393 w 6789178"/>
              <a:gd name="connsiteY375" fmla="*/ 346746 h 1432704"/>
              <a:gd name="connsiteX376" fmla="*/ 4155253 w 6789178"/>
              <a:gd name="connsiteY376" fmla="*/ 369606 h 1432704"/>
              <a:gd name="connsiteX377" fmla="*/ 4132393 w 6789178"/>
              <a:gd name="connsiteY377" fmla="*/ 392466 h 1432704"/>
              <a:gd name="connsiteX378" fmla="*/ 4109533 w 6789178"/>
              <a:gd name="connsiteY378" fmla="*/ 369606 h 1432704"/>
              <a:gd name="connsiteX379" fmla="*/ 4132393 w 6789178"/>
              <a:gd name="connsiteY379" fmla="*/ 346746 h 1432704"/>
              <a:gd name="connsiteX380" fmla="*/ 3945439 w 6789178"/>
              <a:gd name="connsiteY380" fmla="*/ 346746 h 1432704"/>
              <a:gd name="connsiteX381" fmla="*/ 3968299 w 6789178"/>
              <a:gd name="connsiteY381" fmla="*/ 369606 h 1432704"/>
              <a:gd name="connsiteX382" fmla="*/ 3945439 w 6789178"/>
              <a:gd name="connsiteY382" fmla="*/ 392466 h 1432704"/>
              <a:gd name="connsiteX383" fmla="*/ 3922579 w 6789178"/>
              <a:gd name="connsiteY383" fmla="*/ 369606 h 1432704"/>
              <a:gd name="connsiteX384" fmla="*/ 3945439 w 6789178"/>
              <a:gd name="connsiteY384" fmla="*/ 346746 h 1432704"/>
              <a:gd name="connsiteX385" fmla="*/ 3758494 w 6789178"/>
              <a:gd name="connsiteY385" fmla="*/ 346746 h 1432704"/>
              <a:gd name="connsiteX386" fmla="*/ 3781354 w 6789178"/>
              <a:gd name="connsiteY386" fmla="*/ 369606 h 1432704"/>
              <a:gd name="connsiteX387" fmla="*/ 3758494 w 6789178"/>
              <a:gd name="connsiteY387" fmla="*/ 392466 h 1432704"/>
              <a:gd name="connsiteX388" fmla="*/ 3735634 w 6789178"/>
              <a:gd name="connsiteY388" fmla="*/ 369606 h 1432704"/>
              <a:gd name="connsiteX389" fmla="*/ 3758494 w 6789178"/>
              <a:gd name="connsiteY389" fmla="*/ 346746 h 1432704"/>
              <a:gd name="connsiteX390" fmla="*/ 3571549 w 6789178"/>
              <a:gd name="connsiteY390" fmla="*/ 346746 h 1432704"/>
              <a:gd name="connsiteX391" fmla="*/ 3594409 w 6789178"/>
              <a:gd name="connsiteY391" fmla="*/ 369606 h 1432704"/>
              <a:gd name="connsiteX392" fmla="*/ 3571549 w 6789178"/>
              <a:gd name="connsiteY392" fmla="*/ 392466 h 1432704"/>
              <a:gd name="connsiteX393" fmla="*/ 3548689 w 6789178"/>
              <a:gd name="connsiteY393" fmla="*/ 369606 h 1432704"/>
              <a:gd name="connsiteX394" fmla="*/ 3571549 w 6789178"/>
              <a:gd name="connsiteY394" fmla="*/ 346746 h 1432704"/>
              <a:gd name="connsiteX395" fmla="*/ 3384604 w 6789178"/>
              <a:gd name="connsiteY395" fmla="*/ 346746 h 1432704"/>
              <a:gd name="connsiteX396" fmla="*/ 3407464 w 6789178"/>
              <a:gd name="connsiteY396" fmla="*/ 369606 h 1432704"/>
              <a:gd name="connsiteX397" fmla="*/ 3384604 w 6789178"/>
              <a:gd name="connsiteY397" fmla="*/ 392466 h 1432704"/>
              <a:gd name="connsiteX398" fmla="*/ 3361744 w 6789178"/>
              <a:gd name="connsiteY398" fmla="*/ 369606 h 1432704"/>
              <a:gd name="connsiteX399" fmla="*/ 3384604 w 6789178"/>
              <a:gd name="connsiteY399" fmla="*/ 346746 h 1432704"/>
              <a:gd name="connsiteX400" fmla="*/ 3197659 w 6789178"/>
              <a:gd name="connsiteY400" fmla="*/ 346746 h 1432704"/>
              <a:gd name="connsiteX401" fmla="*/ 3220519 w 6789178"/>
              <a:gd name="connsiteY401" fmla="*/ 369606 h 1432704"/>
              <a:gd name="connsiteX402" fmla="*/ 3197659 w 6789178"/>
              <a:gd name="connsiteY402" fmla="*/ 392466 h 1432704"/>
              <a:gd name="connsiteX403" fmla="*/ 3174799 w 6789178"/>
              <a:gd name="connsiteY403" fmla="*/ 369606 h 1432704"/>
              <a:gd name="connsiteX404" fmla="*/ 3197659 w 6789178"/>
              <a:gd name="connsiteY404" fmla="*/ 346746 h 1432704"/>
              <a:gd name="connsiteX405" fmla="*/ 3010714 w 6789178"/>
              <a:gd name="connsiteY405" fmla="*/ 346746 h 1432704"/>
              <a:gd name="connsiteX406" fmla="*/ 3033574 w 6789178"/>
              <a:gd name="connsiteY406" fmla="*/ 369606 h 1432704"/>
              <a:gd name="connsiteX407" fmla="*/ 3010714 w 6789178"/>
              <a:gd name="connsiteY407" fmla="*/ 392466 h 1432704"/>
              <a:gd name="connsiteX408" fmla="*/ 2987854 w 6789178"/>
              <a:gd name="connsiteY408" fmla="*/ 369606 h 1432704"/>
              <a:gd name="connsiteX409" fmla="*/ 3010714 w 6789178"/>
              <a:gd name="connsiteY409" fmla="*/ 346746 h 1432704"/>
              <a:gd name="connsiteX410" fmla="*/ 2823769 w 6789178"/>
              <a:gd name="connsiteY410" fmla="*/ 346746 h 1432704"/>
              <a:gd name="connsiteX411" fmla="*/ 2846629 w 6789178"/>
              <a:gd name="connsiteY411" fmla="*/ 369606 h 1432704"/>
              <a:gd name="connsiteX412" fmla="*/ 2823769 w 6789178"/>
              <a:gd name="connsiteY412" fmla="*/ 392466 h 1432704"/>
              <a:gd name="connsiteX413" fmla="*/ 2800909 w 6789178"/>
              <a:gd name="connsiteY413" fmla="*/ 369606 h 1432704"/>
              <a:gd name="connsiteX414" fmla="*/ 2823769 w 6789178"/>
              <a:gd name="connsiteY414" fmla="*/ 346746 h 1432704"/>
              <a:gd name="connsiteX415" fmla="*/ 2636824 w 6789178"/>
              <a:gd name="connsiteY415" fmla="*/ 346746 h 1432704"/>
              <a:gd name="connsiteX416" fmla="*/ 2659684 w 6789178"/>
              <a:gd name="connsiteY416" fmla="*/ 369606 h 1432704"/>
              <a:gd name="connsiteX417" fmla="*/ 2636824 w 6789178"/>
              <a:gd name="connsiteY417" fmla="*/ 392466 h 1432704"/>
              <a:gd name="connsiteX418" fmla="*/ 2613964 w 6789178"/>
              <a:gd name="connsiteY418" fmla="*/ 369606 h 1432704"/>
              <a:gd name="connsiteX419" fmla="*/ 2636824 w 6789178"/>
              <a:gd name="connsiteY419" fmla="*/ 346746 h 1432704"/>
              <a:gd name="connsiteX420" fmla="*/ 2449879 w 6789178"/>
              <a:gd name="connsiteY420" fmla="*/ 346746 h 1432704"/>
              <a:gd name="connsiteX421" fmla="*/ 2472739 w 6789178"/>
              <a:gd name="connsiteY421" fmla="*/ 369606 h 1432704"/>
              <a:gd name="connsiteX422" fmla="*/ 2449879 w 6789178"/>
              <a:gd name="connsiteY422" fmla="*/ 392466 h 1432704"/>
              <a:gd name="connsiteX423" fmla="*/ 2427019 w 6789178"/>
              <a:gd name="connsiteY423" fmla="*/ 369606 h 1432704"/>
              <a:gd name="connsiteX424" fmla="*/ 2449879 w 6789178"/>
              <a:gd name="connsiteY424" fmla="*/ 346746 h 1432704"/>
              <a:gd name="connsiteX425" fmla="*/ 2262934 w 6789178"/>
              <a:gd name="connsiteY425" fmla="*/ 346746 h 1432704"/>
              <a:gd name="connsiteX426" fmla="*/ 2285794 w 6789178"/>
              <a:gd name="connsiteY426" fmla="*/ 369606 h 1432704"/>
              <a:gd name="connsiteX427" fmla="*/ 2262934 w 6789178"/>
              <a:gd name="connsiteY427" fmla="*/ 392466 h 1432704"/>
              <a:gd name="connsiteX428" fmla="*/ 2240074 w 6789178"/>
              <a:gd name="connsiteY428" fmla="*/ 369606 h 1432704"/>
              <a:gd name="connsiteX429" fmla="*/ 2262934 w 6789178"/>
              <a:gd name="connsiteY429" fmla="*/ 346746 h 1432704"/>
              <a:gd name="connsiteX430" fmla="*/ 2075989 w 6789178"/>
              <a:gd name="connsiteY430" fmla="*/ 346746 h 1432704"/>
              <a:gd name="connsiteX431" fmla="*/ 2098849 w 6789178"/>
              <a:gd name="connsiteY431" fmla="*/ 369606 h 1432704"/>
              <a:gd name="connsiteX432" fmla="*/ 2075989 w 6789178"/>
              <a:gd name="connsiteY432" fmla="*/ 392466 h 1432704"/>
              <a:gd name="connsiteX433" fmla="*/ 2053129 w 6789178"/>
              <a:gd name="connsiteY433" fmla="*/ 369606 h 1432704"/>
              <a:gd name="connsiteX434" fmla="*/ 2075989 w 6789178"/>
              <a:gd name="connsiteY434" fmla="*/ 346746 h 1432704"/>
              <a:gd name="connsiteX435" fmla="*/ 1889044 w 6789178"/>
              <a:gd name="connsiteY435" fmla="*/ 346746 h 1432704"/>
              <a:gd name="connsiteX436" fmla="*/ 1911904 w 6789178"/>
              <a:gd name="connsiteY436" fmla="*/ 369606 h 1432704"/>
              <a:gd name="connsiteX437" fmla="*/ 1889044 w 6789178"/>
              <a:gd name="connsiteY437" fmla="*/ 392466 h 1432704"/>
              <a:gd name="connsiteX438" fmla="*/ 1866184 w 6789178"/>
              <a:gd name="connsiteY438" fmla="*/ 369606 h 1432704"/>
              <a:gd name="connsiteX439" fmla="*/ 1889044 w 6789178"/>
              <a:gd name="connsiteY439" fmla="*/ 346746 h 1432704"/>
              <a:gd name="connsiteX440" fmla="*/ 1702099 w 6789178"/>
              <a:gd name="connsiteY440" fmla="*/ 346746 h 1432704"/>
              <a:gd name="connsiteX441" fmla="*/ 1724959 w 6789178"/>
              <a:gd name="connsiteY441" fmla="*/ 369606 h 1432704"/>
              <a:gd name="connsiteX442" fmla="*/ 1702099 w 6789178"/>
              <a:gd name="connsiteY442" fmla="*/ 392466 h 1432704"/>
              <a:gd name="connsiteX443" fmla="*/ 1679239 w 6789178"/>
              <a:gd name="connsiteY443" fmla="*/ 369606 h 1432704"/>
              <a:gd name="connsiteX444" fmla="*/ 1702099 w 6789178"/>
              <a:gd name="connsiteY444" fmla="*/ 346746 h 1432704"/>
              <a:gd name="connsiteX445" fmla="*/ 4880592 w 6789178"/>
              <a:gd name="connsiteY445" fmla="*/ 212127 h 1432704"/>
              <a:gd name="connsiteX446" fmla="*/ 4898807 w 6789178"/>
              <a:gd name="connsiteY446" fmla="*/ 218290 h 1432704"/>
              <a:gd name="connsiteX447" fmla="*/ 4896868 w 6789178"/>
              <a:gd name="connsiteY447" fmla="*/ 219093 h 1432704"/>
              <a:gd name="connsiteX448" fmla="*/ 4880704 w 6789178"/>
              <a:gd name="connsiteY448" fmla="*/ 212398 h 1432704"/>
              <a:gd name="connsiteX449" fmla="*/ 2088405 w 6789178"/>
              <a:gd name="connsiteY449" fmla="*/ 178516 h 1432704"/>
              <a:gd name="connsiteX450" fmla="*/ 2092154 w 6789178"/>
              <a:gd name="connsiteY450" fmla="*/ 180069 h 1432704"/>
              <a:gd name="connsiteX451" fmla="*/ 2098849 w 6789178"/>
              <a:gd name="connsiteY451" fmla="*/ 196233 h 1432704"/>
              <a:gd name="connsiteX452" fmla="*/ 2075989 w 6789178"/>
              <a:gd name="connsiteY452" fmla="*/ 219093 h 1432704"/>
              <a:gd name="connsiteX453" fmla="*/ 2053129 w 6789178"/>
              <a:gd name="connsiteY453" fmla="*/ 196233 h 1432704"/>
              <a:gd name="connsiteX454" fmla="*/ 2056744 w 6789178"/>
              <a:gd name="connsiteY454" fmla="*/ 187507 h 1432704"/>
              <a:gd name="connsiteX455" fmla="*/ 4709923 w 6789178"/>
              <a:gd name="connsiteY455" fmla="*/ 173373 h 1432704"/>
              <a:gd name="connsiteX456" fmla="*/ 4732783 w 6789178"/>
              <a:gd name="connsiteY456" fmla="*/ 196233 h 1432704"/>
              <a:gd name="connsiteX457" fmla="*/ 4709923 w 6789178"/>
              <a:gd name="connsiteY457" fmla="*/ 219093 h 1432704"/>
              <a:gd name="connsiteX458" fmla="*/ 4687063 w 6789178"/>
              <a:gd name="connsiteY458" fmla="*/ 196233 h 1432704"/>
              <a:gd name="connsiteX459" fmla="*/ 4709923 w 6789178"/>
              <a:gd name="connsiteY459" fmla="*/ 173373 h 1432704"/>
              <a:gd name="connsiteX460" fmla="*/ 4522978 w 6789178"/>
              <a:gd name="connsiteY460" fmla="*/ 173373 h 1432704"/>
              <a:gd name="connsiteX461" fmla="*/ 4545838 w 6789178"/>
              <a:gd name="connsiteY461" fmla="*/ 196233 h 1432704"/>
              <a:gd name="connsiteX462" fmla="*/ 4522978 w 6789178"/>
              <a:gd name="connsiteY462" fmla="*/ 219093 h 1432704"/>
              <a:gd name="connsiteX463" fmla="*/ 4500118 w 6789178"/>
              <a:gd name="connsiteY463" fmla="*/ 196233 h 1432704"/>
              <a:gd name="connsiteX464" fmla="*/ 4522978 w 6789178"/>
              <a:gd name="connsiteY464" fmla="*/ 173373 h 1432704"/>
              <a:gd name="connsiteX465" fmla="*/ 4336033 w 6789178"/>
              <a:gd name="connsiteY465" fmla="*/ 173373 h 1432704"/>
              <a:gd name="connsiteX466" fmla="*/ 4358893 w 6789178"/>
              <a:gd name="connsiteY466" fmla="*/ 196233 h 1432704"/>
              <a:gd name="connsiteX467" fmla="*/ 4336033 w 6789178"/>
              <a:gd name="connsiteY467" fmla="*/ 219093 h 1432704"/>
              <a:gd name="connsiteX468" fmla="*/ 4313173 w 6789178"/>
              <a:gd name="connsiteY468" fmla="*/ 196233 h 1432704"/>
              <a:gd name="connsiteX469" fmla="*/ 4336033 w 6789178"/>
              <a:gd name="connsiteY469" fmla="*/ 173373 h 1432704"/>
              <a:gd name="connsiteX470" fmla="*/ 4132393 w 6789178"/>
              <a:gd name="connsiteY470" fmla="*/ 173373 h 1432704"/>
              <a:gd name="connsiteX471" fmla="*/ 4155253 w 6789178"/>
              <a:gd name="connsiteY471" fmla="*/ 196233 h 1432704"/>
              <a:gd name="connsiteX472" fmla="*/ 4132393 w 6789178"/>
              <a:gd name="connsiteY472" fmla="*/ 219093 h 1432704"/>
              <a:gd name="connsiteX473" fmla="*/ 4109533 w 6789178"/>
              <a:gd name="connsiteY473" fmla="*/ 196233 h 1432704"/>
              <a:gd name="connsiteX474" fmla="*/ 4132393 w 6789178"/>
              <a:gd name="connsiteY474" fmla="*/ 173373 h 1432704"/>
              <a:gd name="connsiteX475" fmla="*/ 3945439 w 6789178"/>
              <a:gd name="connsiteY475" fmla="*/ 173373 h 1432704"/>
              <a:gd name="connsiteX476" fmla="*/ 3968299 w 6789178"/>
              <a:gd name="connsiteY476" fmla="*/ 196233 h 1432704"/>
              <a:gd name="connsiteX477" fmla="*/ 3945439 w 6789178"/>
              <a:gd name="connsiteY477" fmla="*/ 219093 h 1432704"/>
              <a:gd name="connsiteX478" fmla="*/ 3922579 w 6789178"/>
              <a:gd name="connsiteY478" fmla="*/ 196233 h 1432704"/>
              <a:gd name="connsiteX479" fmla="*/ 3945439 w 6789178"/>
              <a:gd name="connsiteY479" fmla="*/ 173373 h 1432704"/>
              <a:gd name="connsiteX480" fmla="*/ 3758494 w 6789178"/>
              <a:gd name="connsiteY480" fmla="*/ 173373 h 1432704"/>
              <a:gd name="connsiteX481" fmla="*/ 3781354 w 6789178"/>
              <a:gd name="connsiteY481" fmla="*/ 196233 h 1432704"/>
              <a:gd name="connsiteX482" fmla="*/ 3758494 w 6789178"/>
              <a:gd name="connsiteY482" fmla="*/ 219093 h 1432704"/>
              <a:gd name="connsiteX483" fmla="*/ 3735634 w 6789178"/>
              <a:gd name="connsiteY483" fmla="*/ 196233 h 1432704"/>
              <a:gd name="connsiteX484" fmla="*/ 3758494 w 6789178"/>
              <a:gd name="connsiteY484" fmla="*/ 173373 h 1432704"/>
              <a:gd name="connsiteX485" fmla="*/ 3571549 w 6789178"/>
              <a:gd name="connsiteY485" fmla="*/ 173373 h 1432704"/>
              <a:gd name="connsiteX486" fmla="*/ 3594409 w 6789178"/>
              <a:gd name="connsiteY486" fmla="*/ 196233 h 1432704"/>
              <a:gd name="connsiteX487" fmla="*/ 3571549 w 6789178"/>
              <a:gd name="connsiteY487" fmla="*/ 219093 h 1432704"/>
              <a:gd name="connsiteX488" fmla="*/ 3548689 w 6789178"/>
              <a:gd name="connsiteY488" fmla="*/ 196233 h 1432704"/>
              <a:gd name="connsiteX489" fmla="*/ 3571549 w 6789178"/>
              <a:gd name="connsiteY489" fmla="*/ 173373 h 1432704"/>
              <a:gd name="connsiteX490" fmla="*/ 3384604 w 6789178"/>
              <a:gd name="connsiteY490" fmla="*/ 173373 h 1432704"/>
              <a:gd name="connsiteX491" fmla="*/ 3407464 w 6789178"/>
              <a:gd name="connsiteY491" fmla="*/ 196233 h 1432704"/>
              <a:gd name="connsiteX492" fmla="*/ 3384604 w 6789178"/>
              <a:gd name="connsiteY492" fmla="*/ 219093 h 1432704"/>
              <a:gd name="connsiteX493" fmla="*/ 3361744 w 6789178"/>
              <a:gd name="connsiteY493" fmla="*/ 196233 h 1432704"/>
              <a:gd name="connsiteX494" fmla="*/ 3384604 w 6789178"/>
              <a:gd name="connsiteY494" fmla="*/ 173373 h 1432704"/>
              <a:gd name="connsiteX495" fmla="*/ 3197659 w 6789178"/>
              <a:gd name="connsiteY495" fmla="*/ 173373 h 1432704"/>
              <a:gd name="connsiteX496" fmla="*/ 3220519 w 6789178"/>
              <a:gd name="connsiteY496" fmla="*/ 196233 h 1432704"/>
              <a:gd name="connsiteX497" fmla="*/ 3197659 w 6789178"/>
              <a:gd name="connsiteY497" fmla="*/ 219093 h 1432704"/>
              <a:gd name="connsiteX498" fmla="*/ 3174799 w 6789178"/>
              <a:gd name="connsiteY498" fmla="*/ 196233 h 1432704"/>
              <a:gd name="connsiteX499" fmla="*/ 3197659 w 6789178"/>
              <a:gd name="connsiteY499" fmla="*/ 173373 h 1432704"/>
              <a:gd name="connsiteX500" fmla="*/ 3010714 w 6789178"/>
              <a:gd name="connsiteY500" fmla="*/ 173373 h 1432704"/>
              <a:gd name="connsiteX501" fmla="*/ 3033574 w 6789178"/>
              <a:gd name="connsiteY501" fmla="*/ 196233 h 1432704"/>
              <a:gd name="connsiteX502" fmla="*/ 3010714 w 6789178"/>
              <a:gd name="connsiteY502" fmla="*/ 219093 h 1432704"/>
              <a:gd name="connsiteX503" fmla="*/ 2987854 w 6789178"/>
              <a:gd name="connsiteY503" fmla="*/ 196233 h 1432704"/>
              <a:gd name="connsiteX504" fmla="*/ 3010714 w 6789178"/>
              <a:gd name="connsiteY504" fmla="*/ 173373 h 1432704"/>
              <a:gd name="connsiteX505" fmla="*/ 2823769 w 6789178"/>
              <a:gd name="connsiteY505" fmla="*/ 173373 h 1432704"/>
              <a:gd name="connsiteX506" fmla="*/ 2846629 w 6789178"/>
              <a:gd name="connsiteY506" fmla="*/ 196233 h 1432704"/>
              <a:gd name="connsiteX507" fmla="*/ 2823769 w 6789178"/>
              <a:gd name="connsiteY507" fmla="*/ 219093 h 1432704"/>
              <a:gd name="connsiteX508" fmla="*/ 2800909 w 6789178"/>
              <a:gd name="connsiteY508" fmla="*/ 196233 h 1432704"/>
              <a:gd name="connsiteX509" fmla="*/ 2823769 w 6789178"/>
              <a:gd name="connsiteY509" fmla="*/ 173373 h 1432704"/>
              <a:gd name="connsiteX510" fmla="*/ 2636824 w 6789178"/>
              <a:gd name="connsiteY510" fmla="*/ 173373 h 1432704"/>
              <a:gd name="connsiteX511" fmla="*/ 2659684 w 6789178"/>
              <a:gd name="connsiteY511" fmla="*/ 196233 h 1432704"/>
              <a:gd name="connsiteX512" fmla="*/ 2636824 w 6789178"/>
              <a:gd name="connsiteY512" fmla="*/ 219093 h 1432704"/>
              <a:gd name="connsiteX513" fmla="*/ 2613964 w 6789178"/>
              <a:gd name="connsiteY513" fmla="*/ 196233 h 1432704"/>
              <a:gd name="connsiteX514" fmla="*/ 2636824 w 6789178"/>
              <a:gd name="connsiteY514" fmla="*/ 173373 h 1432704"/>
              <a:gd name="connsiteX515" fmla="*/ 2449879 w 6789178"/>
              <a:gd name="connsiteY515" fmla="*/ 173373 h 1432704"/>
              <a:gd name="connsiteX516" fmla="*/ 2472739 w 6789178"/>
              <a:gd name="connsiteY516" fmla="*/ 196233 h 1432704"/>
              <a:gd name="connsiteX517" fmla="*/ 2449879 w 6789178"/>
              <a:gd name="connsiteY517" fmla="*/ 219093 h 1432704"/>
              <a:gd name="connsiteX518" fmla="*/ 2427019 w 6789178"/>
              <a:gd name="connsiteY518" fmla="*/ 196233 h 1432704"/>
              <a:gd name="connsiteX519" fmla="*/ 2449879 w 6789178"/>
              <a:gd name="connsiteY519" fmla="*/ 173373 h 1432704"/>
              <a:gd name="connsiteX520" fmla="*/ 2262934 w 6789178"/>
              <a:gd name="connsiteY520" fmla="*/ 173373 h 1432704"/>
              <a:gd name="connsiteX521" fmla="*/ 2285794 w 6789178"/>
              <a:gd name="connsiteY521" fmla="*/ 196233 h 1432704"/>
              <a:gd name="connsiteX522" fmla="*/ 2262934 w 6789178"/>
              <a:gd name="connsiteY522" fmla="*/ 219093 h 1432704"/>
              <a:gd name="connsiteX523" fmla="*/ 2240074 w 6789178"/>
              <a:gd name="connsiteY523" fmla="*/ 196233 h 1432704"/>
              <a:gd name="connsiteX524" fmla="*/ 2262934 w 6789178"/>
              <a:gd name="connsiteY524" fmla="*/ 173373 h 1432704"/>
              <a:gd name="connsiteX525" fmla="*/ 4116095 w 6789178"/>
              <a:gd name="connsiteY525" fmla="*/ 38700 h 1432704"/>
              <a:gd name="connsiteX526" fmla="*/ 4141536 w 6789178"/>
              <a:gd name="connsiteY526" fmla="*/ 41933 h 1432704"/>
              <a:gd name="connsiteX527" fmla="*/ 4132393 w 6789178"/>
              <a:gd name="connsiteY527" fmla="*/ 45720 h 1432704"/>
              <a:gd name="connsiteX528" fmla="*/ 4116229 w 6789178"/>
              <a:gd name="connsiteY528" fmla="*/ 39025 h 1432704"/>
              <a:gd name="connsiteX529" fmla="*/ 2845735 w 6789178"/>
              <a:gd name="connsiteY529" fmla="*/ 25019 h 1432704"/>
              <a:gd name="connsiteX530" fmla="*/ 2839934 w 6789178"/>
              <a:gd name="connsiteY530" fmla="*/ 39025 h 1432704"/>
              <a:gd name="connsiteX531" fmla="*/ 2823769 w 6789178"/>
              <a:gd name="connsiteY531" fmla="*/ 45720 h 1432704"/>
              <a:gd name="connsiteX532" fmla="*/ 2807605 w 6789178"/>
              <a:gd name="connsiteY532" fmla="*/ 39025 h 1432704"/>
              <a:gd name="connsiteX533" fmla="*/ 2804000 w 6789178"/>
              <a:gd name="connsiteY533" fmla="*/ 30322 h 1432704"/>
              <a:gd name="connsiteX534" fmla="*/ 3926023 w 6789178"/>
              <a:gd name="connsiteY534" fmla="*/ 14548 h 1432704"/>
              <a:gd name="connsiteX535" fmla="*/ 3967014 w 6789178"/>
              <a:gd name="connsiteY535" fmla="*/ 19757 h 1432704"/>
              <a:gd name="connsiteX536" fmla="*/ 3968299 w 6789178"/>
              <a:gd name="connsiteY536" fmla="*/ 22860 h 1432704"/>
              <a:gd name="connsiteX537" fmla="*/ 3945439 w 6789178"/>
              <a:gd name="connsiteY537" fmla="*/ 45720 h 1432704"/>
              <a:gd name="connsiteX538" fmla="*/ 3922579 w 6789178"/>
              <a:gd name="connsiteY538" fmla="*/ 22860 h 1432704"/>
              <a:gd name="connsiteX539" fmla="*/ 3026904 w 6789178"/>
              <a:gd name="connsiteY539" fmla="*/ 6756 h 1432704"/>
              <a:gd name="connsiteX540" fmla="*/ 3033574 w 6789178"/>
              <a:gd name="connsiteY540" fmla="*/ 22860 h 1432704"/>
              <a:gd name="connsiteX541" fmla="*/ 3010714 w 6789178"/>
              <a:gd name="connsiteY541" fmla="*/ 45720 h 1432704"/>
              <a:gd name="connsiteX542" fmla="*/ 2987854 w 6789178"/>
              <a:gd name="connsiteY542" fmla="*/ 22860 h 1432704"/>
              <a:gd name="connsiteX543" fmla="*/ 2993472 w 6789178"/>
              <a:gd name="connsiteY543" fmla="*/ 9298 h 1432704"/>
              <a:gd name="connsiteX544" fmla="*/ 3755379 w 6789178"/>
              <a:gd name="connsiteY544" fmla="*/ 1291 h 1432704"/>
              <a:gd name="connsiteX545" fmla="*/ 3763010 w 6789178"/>
              <a:gd name="connsiteY545" fmla="*/ 1871 h 1432704"/>
              <a:gd name="connsiteX546" fmla="*/ 3774659 w 6789178"/>
              <a:gd name="connsiteY546" fmla="*/ 6696 h 1432704"/>
              <a:gd name="connsiteX547" fmla="*/ 3781354 w 6789178"/>
              <a:gd name="connsiteY547" fmla="*/ 22860 h 1432704"/>
              <a:gd name="connsiteX548" fmla="*/ 3758494 w 6789178"/>
              <a:gd name="connsiteY548" fmla="*/ 45720 h 1432704"/>
              <a:gd name="connsiteX549" fmla="*/ 3735634 w 6789178"/>
              <a:gd name="connsiteY549" fmla="*/ 22860 h 1432704"/>
              <a:gd name="connsiteX550" fmla="*/ 3742330 w 6789178"/>
              <a:gd name="connsiteY550" fmla="*/ 6696 h 1432704"/>
              <a:gd name="connsiteX551" fmla="*/ 3571549 w 6789178"/>
              <a:gd name="connsiteY551" fmla="*/ 0 h 1432704"/>
              <a:gd name="connsiteX552" fmla="*/ 3594409 w 6789178"/>
              <a:gd name="connsiteY552" fmla="*/ 22860 h 1432704"/>
              <a:gd name="connsiteX553" fmla="*/ 3571549 w 6789178"/>
              <a:gd name="connsiteY553" fmla="*/ 45720 h 1432704"/>
              <a:gd name="connsiteX554" fmla="*/ 3548689 w 6789178"/>
              <a:gd name="connsiteY554" fmla="*/ 22860 h 1432704"/>
              <a:gd name="connsiteX555" fmla="*/ 3571549 w 6789178"/>
              <a:gd name="connsiteY555" fmla="*/ 0 h 1432704"/>
              <a:gd name="connsiteX556" fmla="*/ 3384604 w 6789178"/>
              <a:gd name="connsiteY556" fmla="*/ 0 h 1432704"/>
              <a:gd name="connsiteX557" fmla="*/ 3407464 w 6789178"/>
              <a:gd name="connsiteY557" fmla="*/ 22860 h 1432704"/>
              <a:gd name="connsiteX558" fmla="*/ 3384604 w 6789178"/>
              <a:gd name="connsiteY558" fmla="*/ 45720 h 1432704"/>
              <a:gd name="connsiteX559" fmla="*/ 3361744 w 6789178"/>
              <a:gd name="connsiteY559" fmla="*/ 22860 h 1432704"/>
              <a:gd name="connsiteX560" fmla="*/ 3384604 w 6789178"/>
              <a:gd name="connsiteY560" fmla="*/ 0 h 1432704"/>
              <a:gd name="connsiteX561" fmla="*/ 3197659 w 6789178"/>
              <a:gd name="connsiteY561" fmla="*/ 0 h 1432704"/>
              <a:gd name="connsiteX562" fmla="*/ 3220519 w 6789178"/>
              <a:gd name="connsiteY562" fmla="*/ 22860 h 1432704"/>
              <a:gd name="connsiteX563" fmla="*/ 3197659 w 6789178"/>
              <a:gd name="connsiteY563" fmla="*/ 45720 h 1432704"/>
              <a:gd name="connsiteX564" fmla="*/ 3174799 w 6789178"/>
              <a:gd name="connsiteY564" fmla="*/ 22860 h 1432704"/>
              <a:gd name="connsiteX565" fmla="*/ 3197659 w 6789178"/>
              <a:gd name="connsiteY565" fmla="*/ 0 h 1432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</a:cxnLst>
            <a:rect l="l" t="t" r="r" b="b"/>
            <a:pathLst>
              <a:path w="6789178" h="1432704">
                <a:moveTo>
                  <a:pt x="27397" y="1390216"/>
                </a:moveTo>
                <a:lnTo>
                  <a:pt x="35759" y="1393680"/>
                </a:lnTo>
                <a:cubicBezTo>
                  <a:pt x="39896" y="1397817"/>
                  <a:pt x="42454" y="1403532"/>
                  <a:pt x="42454" y="1409844"/>
                </a:cubicBezTo>
                <a:cubicBezTo>
                  <a:pt x="42454" y="1422469"/>
                  <a:pt x="32219" y="1432704"/>
                  <a:pt x="19594" y="1432704"/>
                </a:cubicBezTo>
                <a:cubicBezTo>
                  <a:pt x="13282" y="1432704"/>
                  <a:pt x="7567" y="1430145"/>
                  <a:pt x="3430" y="1426009"/>
                </a:cubicBezTo>
                <a:lnTo>
                  <a:pt x="0" y="1417729"/>
                </a:lnTo>
                <a:lnTo>
                  <a:pt x="14582" y="1402434"/>
                </a:lnTo>
                <a:close/>
                <a:moveTo>
                  <a:pt x="6766318" y="1386984"/>
                </a:moveTo>
                <a:cubicBezTo>
                  <a:pt x="6778943" y="1386984"/>
                  <a:pt x="6789178" y="1397219"/>
                  <a:pt x="6789178" y="1409844"/>
                </a:cubicBezTo>
                <a:cubicBezTo>
                  <a:pt x="6789178" y="1422469"/>
                  <a:pt x="6778943" y="1432704"/>
                  <a:pt x="6766318" y="1432704"/>
                </a:cubicBezTo>
                <a:cubicBezTo>
                  <a:pt x="6753693" y="1432704"/>
                  <a:pt x="6743458" y="1422469"/>
                  <a:pt x="6743458" y="1409844"/>
                </a:cubicBezTo>
                <a:cubicBezTo>
                  <a:pt x="6743458" y="1397219"/>
                  <a:pt x="6753693" y="1386984"/>
                  <a:pt x="6766318" y="1386984"/>
                </a:cubicBezTo>
                <a:close/>
                <a:moveTo>
                  <a:pt x="6579373" y="1386984"/>
                </a:moveTo>
                <a:cubicBezTo>
                  <a:pt x="6591998" y="1386984"/>
                  <a:pt x="6602233" y="1397219"/>
                  <a:pt x="6602233" y="1409844"/>
                </a:cubicBezTo>
                <a:cubicBezTo>
                  <a:pt x="6602233" y="1422469"/>
                  <a:pt x="6591998" y="1432704"/>
                  <a:pt x="6579373" y="1432704"/>
                </a:cubicBezTo>
                <a:cubicBezTo>
                  <a:pt x="6566748" y="1432704"/>
                  <a:pt x="6556513" y="1422469"/>
                  <a:pt x="6556513" y="1409844"/>
                </a:cubicBezTo>
                <a:cubicBezTo>
                  <a:pt x="6556513" y="1397219"/>
                  <a:pt x="6566748" y="1386984"/>
                  <a:pt x="6579373" y="1386984"/>
                </a:cubicBezTo>
                <a:close/>
                <a:moveTo>
                  <a:pt x="6392428" y="1386984"/>
                </a:moveTo>
                <a:cubicBezTo>
                  <a:pt x="6405053" y="1386984"/>
                  <a:pt x="6415288" y="1397219"/>
                  <a:pt x="6415288" y="1409844"/>
                </a:cubicBezTo>
                <a:cubicBezTo>
                  <a:pt x="6415288" y="1422469"/>
                  <a:pt x="6405053" y="1432704"/>
                  <a:pt x="6392428" y="1432704"/>
                </a:cubicBezTo>
                <a:cubicBezTo>
                  <a:pt x="6379803" y="1432704"/>
                  <a:pt x="6369568" y="1422469"/>
                  <a:pt x="6369568" y="1409844"/>
                </a:cubicBezTo>
                <a:cubicBezTo>
                  <a:pt x="6369568" y="1397219"/>
                  <a:pt x="6379803" y="1386984"/>
                  <a:pt x="6392428" y="1386984"/>
                </a:cubicBezTo>
                <a:close/>
                <a:moveTo>
                  <a:pt x="6205483" y="1386984"/>
                </a:moveTo>
                <a:cubicBezTo>
                  <a:pt x="6218108" y="1386984"/>
                  <a:pt x="6228343" y="1397219"/>
                  <a:pt x="6228343" y="1409844"/>
                </a:cubicBezTo>
                <a:cubicBezTo>
                  <a:pt x="6228343" y="1422469"/>
                  <a:pt x="6218108" y="1432704"/>
                  <a:pt x="6205483" y="1432704"/>
                </a:cubicBezTo>
                <a:cubicBezTo>
                  <a:pt x="6192858" y="1432704"/>
                  <a:pt x="6182623" y="1422469"/>
                  <a:pt x="6182623" y="1409844"/>
                </a:cubicBezTo>
                <a:cubicBezTo>
                  <a:pt x="6182623" y="1397219"/>
                  <a:pt x="6192858" y="1386984"/>
                  <a:pt x="6205483" y="1386984"/>
                </a:cubicBezTo>
                <a:close/>
                <a:moveTo>
                  <a:pt x="580429" y="1386984"/>
                </a:moveTo>
                <a:cubicBezTo>
                  <a:pt x="593054" y="1386984"/>
                  <a:pt x="603289" y="1397219"/>
                  <a:pt x="603289" y="1409844"/>
                </a:cubicBezTo>
                <a:cubicBezTo>
                  <a:pt x="603289" y="1422469"/>
                  <a:pt x="593054" y="1432704"/>
                  <a:pt x="580429" y="1432704"/>
                </a:cubicBezTo>
                <a:cubicBezTo>
                  <a:pt x="567804" y="1432704"/>
                  <a:pt x="557569" y="1422469"/>
                  <a:pt x="557569" y="1409844"/>
                </a:cubicBezTo>
                <a:cubicBezTo>
                  <a:pt x="557569" y="1397219"/>
                  <a:pt x="567804" y="1386984"/>
                  <a:pt x="580429" y="1386984"/>
                </a:cubicBezTo>
                <a:close/>
                <a:moveTo>
                  <a:pt x="393484" y="1386984"/>
                </a:moveTo>
                <a:cubicBezTo>
                  <a:pt x="406109" y="1386984"/>
                  <a:pt x="416344" y="1397219"/>
                  <a:pt x="416344" y="1409844"/>
                </a:cubicBezTo>
                <a:cubicBezTo>
                  <a:pt x="416344" y="1422469"/>
                  <a:pt x="406109" y="1432704"/>
                  <a:pt x="393484" y="1432704"/>
                </a:cubicBezTo>
                <a:cubicBezTo>
                  <a:pt x="380859" y="1432704"/>
                  <a:pt x="370624" y="1422469"/>
                  <a:pt x="370624" y="1409844"/>
                </a:cubicBezTo>
                <a:cubicBezTo>
                  <a:pt x="370624" y="1397219"/>
                  <a:pt x="380859" y="1386984"/>
                  <a:pt x="393484" y="1386984"/>
                </a:cubicBezTo>
                <a:close/>
                <a:moveTo>
                  <a:pt x="206539" y="1386984"/>
                </a:moveTo>
                <a:cubicBezTo>
                  <a:pt x="219164" y="1386984"/>
                  <a:pt x="229399" y="1397219"/>
                  <a:pt x="229399" y="1409844"/>
                </a:cubicBezTo>
                <a:cubicBezTo>
                  <a:pt x="229399" y="1422469"/>
                  <a:pt x="219164" y="1432704"/>
                  <a:pt x="206539" y="1432704"/>
                </a:cubicBezTo>
                <a:cubicBezTo>
                  <a:pt x="193914" y="1432704"/>
                  <a:pt x="183679" y="1422469"/>
                  <a:pt x="183679" y="1409844"/>
                </a:cubicBezTo>
                <a:cubicBezTo>
                  <a:pt x="183679" y="1397219"/>
                  <a:pt x="193914" y="1386984"/>
                  <a:pt x="206539" y="1386984"/>
                </a:cubicBezTo>
                <a:close/>
                <a:moveTo>
                  <a:pt x="212734" y="1216177"/>
                </a:moveTo>
                <a:lnTo>
                  <a:pt x="222704" y="1220307"/>
                </a:lnTo>
                <a:cubicBezTo>
                  <a:pt x="226841" y="1224444"/>
                  <a:pt x="229399" y="1230159"/>
                  <a:pt x="229399" y="1236471"/>
                </a:cubicBezTo>
                <a:cubicBezTo>
                  <a:pt x="229399" y="1249096"/>
                  <a:pt x="219164" y="1259331"/>
                  <a:pt x="206539" y="1259331"/>
                </a:cubicBezTo>
                <a:cubicBezTo>
                  <a:pt x="200227" y="1259331"/>
                  <a:pt x="194512" y="1256773"/>
                  <a:pt x="190375" y="1252636"/>
                </a:cubicBezTo>
                <a:lnTo>
                  <a:pt x="185165" y="1240059"/>
                </a:lnTo>
                <a:close/>
                <a:moveTo>
                  <a:pt x="950606" y="1215149"/>
                </a:moveTo>
                <a:lnTo>
                  <a:pt x="935662" y="1226324"/>
                </a:lnTo>
                <a:lnTo>
                  <a:pt x="938155" y="1220307"/>
                </a:lnTo>
                <a:close/>
                <a:moveTo>
                  <a:pt x="6579373" y="1213611"/>
                </a:moveTo>
                <a:cubicBezTo>
                  <a:pt x="6591998" y="1213611"/>
                  <a:pt x="6602233" y="1223846"/>
                  <a:pt x="6602233" y="1236471"/>
                </a:cubicBezTo>
                <a:cubicBezTo>
                  <a:pt x="6602233" y="1249096"/>
                  <a:pt x="6591998" y="1259331"/>
                  <a:pt x="6579373" y="1259331"/>
                </a:cubicBezTo>
                <a:cubicBezTo>
                  <a:pt x="6566748" y="1259331"/>
                  <a:pt x="6556513" y="1249096"/>
                  <a:pt x="6556513" y="1236471"/>
                </a:cubicBezTo>
                <a:cubicBezTo>
                  <a:pt x="6556513" y="1223846"/>
                  <a:pt x="6566748" y="1213611"/>
                  <a:pt x="6579373" y="1213611"/>
                </a:cubicBezTo>
                <a:close/>
                <a:moveTo>
                  <a:pt x="6392428" y="1213611"/>
                </a:moveTo>
                <a:cubicBezTo>
                  <a:pt x="6405053" y="1213611"/>
                  <a:pt x="6415288" y="1223846"/>
                  <a:pt x="6415288" y="1236471"/>
                </a:cubicBezTo>
                <a:cubicBezTo>
                  <a:pt x="6415288" y="1249096"/>
                  <a:pt x="6405053" y="1259331"/>
                  <a:pt x="6392428" y="1259331"/>
                </a:cubicBezTo>
                <a:cubicBezTo>
                  <a:pt x="6379803" y="1259331"/>
                  <a:pt x="6369568" y="1249096"/>
                  <a:pt x="6369568" y="1236471"/>
                </a:cubicBezTo>
                <a:cubicBezTo>
                  <a:pt x="6369568" y="1223846"/>
                  <a:pt x="6379803" y="1213611"/>
                  <a:pt x="6392428" y="1213611"/>
                </a:cubicBezTo>
                <a:close/>
                <a:moveTo>
                  <a:pt x="6205483" y="1213611"/>
                </a:moveTo>
                <a:cubicBezTo>
                  <a:pt x="6218108" y="1213611"/>
                  <a:pt x="6228343" y="1223846"/>
                  <a:pt x="6228343" y="1236471"/>
                </a:cubicBezTo>
                <a:cubicBezTo>
                  <a:pt x="6228343" y="1249096"/>
                  <a:pt x="6218108" y="1259331"/>
                  <a:pt x="6205483" y="1259331"/>
                </a:cubicBezTo>
                <a:cubicBezTo>
                  <a:pt x="6192858" y="1259331"/>
                  <a:pt x="6182623" y="1249096"/>
                  <a:pt x="6182623" y="1236471"/>
                </a:cubicBezTo>
                <a:cubicBezTo>
                  <a:pt x="6182623" y="1223846"/>
                  <a:pt x="6192858" y="1213611"/>
                  <a:pt x="6205483" y="1213611"/>
                </a:cubicBezTo>
                <a:close/>
                <a:moveTo>
                  <a:pt x="6018538" y="1213611"/>
                </a:moveTo>
                <a:cubicBezTo>
                  <a:pt x="6031163" y="1213611"/>
                  <a:pt x="6041398" y="1223846"/>
                  <a:pt x="6041398" y="1236471"/>
                </a:cubicBezTo>
                <a:cubicBezTo>
                  <a:pt x="6041398" y="1249096"/>
                  <a:pt x="6031163" y="1259331"/>
                  <a:pt x="6018538" y="1259331"/>
                </a:cubicBezTo>
                <a:cubicBezTo>
                  <a:pt x="6005913" y="1259331"/>
                  <a:pt x="5995678" y="1249096"/>
                  <a:pt x="5995678" y="1236471"/>
                </a:cubicBezTo>
                <a:cubicBezTo>
                  <a:pt x="5995678" y="1223846"/>
                  <a:pt x="6005913" y="1213611"/>
                  <a:pt x="6018538" y="1213611"/>
                </a:cubicBezTo>
                <a:close/>
                <a:moveTo>
                  <a:pt x="767374" y="1213611"/>
                </a:moveTo>
                <a:cubicBezTo>
                  <a:pt x="779999" y="1213611"/>
                  <a:pt x="790234" y="1223846"/>
                  <a:pt x="790234" y="1236471"/>
                </a:cubicBezTo>
                <a:cubicBezTo>
                  <a:pt x="790234" y="1249096"/>
                  <a:pt x="779999" y="1259331"/>
                  <a:pt x="767374" y="1259331"/>
                </a:cubicBezTo>
                <a:cubicBezTo>
                  <a:pt x="754749" y="1259331"/>
                  <a:pt x="744514" y="1249096"/>
                  <a:pt x="744514" y="1236471"/>
                </a:cubicBezTo>
                <a:cubicBezTo>
                  <a:pt x="744514" y="1223846"/>
                  <a:pt x="754749" y="1213611"/>
                  <a:pt x="767374" y="1213611"/>
                </a:cubicBezTo>
                <a:close/>
                <a:moveTo>
                  <a:pt x="580429" y="1213611"/>
                </a:moveTo>
                <a:cubicBezTo>
                  <a:pt x="593054" y="1213611"/>
                  <a:pt x="603289" y="1223846"/>
                  <a:pt x="603289" y="1236471"/>
                </a:cubicBezTo>
                <a:cubicBezTo>
                  <a:pt x="603289" y="1249096"/>
                  <a:pt x="593054" y="1259331"/>
                  <a:pt x="580429" y="1259331"/>
                </a:cubicBezTo>
                <a:cubicBezTo>
                  <a:pt x="567804" y="1259331"/>
                  <a:pt x="557569" y="1249096"/>
                  <a:pt x="557569" y="1236471"/>
                </a:cubicBezTo>
                <a:cubicBezTo>
                  <a:pt x="557569" y="1223846"/>
                  <a:pt x="567804" y="1213611"/>
                  <a:pt x="580429" y="1213611"/>
                </a:cubicBezTo>
                <a:close/>
                <a:moveTo>
                  <a:pt x="393484" y="1213611"/>
                </a:moveTo>
                <a:cubicBezTo>
                  <a:pt x="406109" y="1213611"/>
                  <a:pt x="416344" y="1223846"/>
                  <a:pt x="416344" y="1236471"/>
                </a:cubicBezTo>
                <a:cubicBezTo>
                  <a:pt x="416344" y="1249096"/>
                  <a:pt x="406109" y="1259331"/>
                  <a:pt x="393484" y="1259331"/>
                </a:cubicBezTo>
                <a:cubicBezTo>
                  <a:pt x="380859" y="1259331"/>
                  <a:pt x="370624" y="1249096"/>
                  <a:pt x="370624" y="1236471"/>
                </a:cubicBezTo>
                <a:cubicBezTo>
                  <a:pt x="370624" y="1223846"/>
                  <a:pt x="380859" y="1213611"/>
                  <a:pt x="393484" y="1213611"/>
                </a:cubicBezTo>
                <a:close/>
                <a:moveTo>
                  <a:pt x="410549" y="1049107"/>
                </a:moveTo>
                <a:lnTo>
                  <a:pt x="416344" y="1063098"/>
                </a:lnTo>
                <a:cubicBezTo>
                  <a:pt x="416344" y="1075723"/>
                  <a:pt x="406109" y="1085958"/>
                  <a:pt x="393484" y="1085958"/>
                </a:cubicBezTo>
                <a:cubicBezTo>
                  <a:pt x="387172" y="1085958"/>
                  <a:pt x="381457" y="1083399"/>
                  <a:pt x="377320" y="1079263"/>
                </a:cubicBezTo>
                <a:lnTo>
                  <a:pt x="376056" y="1076212"/>
                </a:lnTo>
                <a:close/>
                <a:moveTo>
                  <a:pt x="6392428" y="1040238"/>
                </a:moveTo>
                <a:cubicBezTo>
                  <a:pt x="6405053" y="1040238"/>
                  <a:pt x="6415288" y="1050473"/>
                  <a:pt x="6415288" y="1063098"/>
                </a:cubicBezTo>
                <a:cubicBezTo>
                  <a:pt x="6415288" y="1075723"/>
                  <a:pt x="6405053" y="1085958"/>
                  <a:pt x="6392428" y="1085958"/>
                </a:cubicBezTo>
                <a:cubicBezTo>
                  <a:pt x="6379803" y="1085958"/>
                  <a:pt x="6369568" y="1075723"/>
                  <a:pt x="6369568" y="1063098"/>
                </a:cubicBezTo>
                <a:cubicBezTo>
                  <a:pt x="6369568" y="1050473"/>
                  <a:pt x="6379803" y="1040238"/>
                  <a:pt x="6392428" y="1040238"/>
                </a:cubicBezTo>
                <a:close/>
                <a:moveTo>
                  <a:pt x="6205483" y="1040238"/>
                </a:moveTo>
                <a:cubicBezTo>
                  <a:pt x="6218108" y="1040238"/>
                  <a:pt x="6228343" y="1050473"/>
                  <a:pt x="6228343" y="1063098"/>
                </a:cubicBezTo>
                <a:cubicBezTo>
                  <a:pt x="6228343" y="1075723"/>
                  <a:pt x="6218108" y="1085958"/>
                  <a:pt x="6205483" y="1085958"/>
                </a:cubicBezTo>
                <a:cubicBezTo>
                  <a:pt x="6192858" y="1085958"/>
                  <a:pt x="6182623" y="1075723"/>
                  <a:pt x="6182623" y="1063098"/>
                </a:cubicBezTo>
                <a:cubicBezTo>
                  <a:pt x="6182623" y="1050473"/>
                  <a:pt x="6192858" y="1040238"/>
                  <a:pt x="6205483" y="1040238"/>
                </a:cubicBezTo>
                <a:close/>
                <a:moveTo>
                  <a:pt x="6018538" y="1040238"/>
                </a:moveTo>
                <a:cubicBezTo>
                  <a:pt x="6031163" y="1040238"/>
                  <a:pt x="6041398" y="1050473"/>
                  <a:pt x="6041398" y="1063098"/>
                </a:cubicBezTo>
                <a:cubicBezTo>
                  <a:pt x="6041398" y="1075723"/>
                  <a:pt x="6031163" y="1085958"/>
                  <a:pt x="6018538" y="1085958"/>
                </a:cubicBezTo>
                <a:cubicBezTo>
                  <a:pt x="6005913" y="1085958"/>
                  <a:pt x="5995678" y="1075723"/>
                  <a:pt x="5995678" y="1063098"/>
                </a:cubicBezTo>
                <a:cubicBezTo>
                  <a:pt x="5995678" y="1050473"/>
                  <a:pt x="6005913" y="1040238"/>
                  <a:pt x="6018538" y="1040238"/>
                </a:cubicBezTo>
                <a:close/>
                <a:moveTo>
                  <a:pt x="5831593" y="1040238"/>
                </a:moveTo>
                <a:cubicBezTo>
                  <a:pt x="5844218" y="1040238"/>
                  <a:pt x="5854453" y="1050473"/>
                  <a:pt x="5854453" y="1063098"/>
                </a:cubicBezTo>
                <a:cubicBezTo>
                  <a:pt x="5854453" y="1075723"/>
                  <a:pt x="5844218" y="1085958"/>
                  <a:pt x="5831593" y="1085958"/>
                </a:cubicBezTo>
                <a:cubicBezTo>
                  <a:pt x="5818968" y="1085958"/>
                  <a:pt x="5808733" y="1075723"/>
                  <a:pt x="5808733" y="1063098"/>
                </a:cubicBezTo>
                <a:cubicBezTo>
                  <a:pt x="5808733" y="1050473"/>
                  <a:pt x="5818968" y="1040238"/>
                  <a:pt x="5831593" y="1040238"/>
                </a:cubicBezTo>
                <a:close/>
                <a:moveTo>
                  <a:pt x="5644648" y="1040238"/>
                </a:moveTo>
                <a:cubicBezTo>
                  <a:pt x="5657273" y="1040238"/>
                  <a:pt x="5667508" y="1050473"/>
                  <a:pt x="5667508" y="1063098"/>
                </a:cubicBezTo>
                <a:lnTo>
                  <a:pt x="5666177" y="1066311"/>
                </a:lnTo>
                <a:lnTo>
                  <a:pt x="5632481" y="1045278"/>
                </a:lnTo>
                <a:close/>
                <a:moveTo>
                  <a:pt x="1141264" y="1040238"/>
                </a:moveTo>
                <a:cubicBezTo>
                  <a:pt x="1153889" y="1040238"/>
                  <a:pt x="1164124" y="1050473"/>
                  <a:pt x="1164124" y="1063098"/>
                </a:cubicBezTo>
                <a:cubicBezTo>
                  <a:pt x="1164124" y="1075723"/>
                  <a:pt x="1153889" y="1085958"/>
                  <a:pt x="1141264" y="1085958"/>
                </a:cubicBezTo>
                <a:cubicBezTo>
                  <a:pt x="1128639" y="1085958"/>
                  <a:pt x="1118404" y="1075723"/>
                  <a:pt x="1118404" y="1063098"/>
                </a:cubicBezTo>
                <a:cubicBezTo>
                  <a:pt x="1118404" y="1050473"/>
                  <a:pt x="1128639" y="1040238"/>
                  <a:pt x="1141264" y="1040238"/>
                </a:cubicBezTo>
                <a:close/>
                <a:moveTo>
                  <a:pt x="954319" y="1040238"/>
                </a:moveTo>
                <a:cubicBezTo>
                  <a:pt x="966944" y="1040238"/>
                  <a:pt x="977179" y="1050473"/>
                  <a:pt x="977179" y="1063098"/>
                </a:cubicBezTo>
                <a:cubicBezTo>
                  <a:pt x="977179" y="1075723"/>
                  <a:pt x="966944" y="1085958"/>
                  <a:pt x="954319" y="1085958"/>
                </a:cubicBezTo>
                <a:cubicBezTo>
                  <a:pt x="941694" y="1085958"/>
                  <a:pt x="931459" y="1075723"/>
                  <a:pt x="931459" y="1063098"/>
                </a:cubicBezTo>
                <a:cubicBezTo>
                  <a:pt x="931459" y="1050473"/>
                  <a:pt x="941694" y="1040238"/>
                  <a:pt x="954319" y="1040238"/>
                </a:cubicBezTo>
                <a:close/>
                <a:moveTo>
                  <a:pt x="767374" y="1040238"/>
                </a:moveTo>
                <a:cubicBezTo>
                  <a:pt x="779999" y="1040238"/>
                  <a:pt x="790234" y="1050473"/>
                  <a:pt x="790234" y="1063098"/>
                </a:cubicBezTo>
                <a:cubicBezTo>
                  <a:pt x="790234" y="1075723"/>
                  <a:pt x="779999" y="1085958"/>
                  <a:pt x="767374" y="1085958"/>
                </a:cubicBezTo>
                <a:cubicBezTo>
                  <a:pt x="754749" y="1085958"/>
                  <a:pt x="744514" y="1075723"/>
                  <a:pt x="744514" y="1063098"/>
                </a:cubicBezTo>
                <a:cubicBezTo>
                  <a:pt x="744514" y="1050473"/>
                  <a:pt x="754749" y="1040238"/>
                  <a:pt x="767374" y="1040238"/>
                </a:cubicBezTo>
                <a:close/>
                <a:moveTo>
                  <a:pt x="580429" y="1040238"/>
                </a:moveTo>
                <a:cubicBezTo>
                  <a:pt x="593054" y="1040238"/>
                  <a:pt x="603289" y="1050473"/>
                  <a:pt x="603289" y="1063098"/>
                </a:cubicBezTo>
                <a:cubicBezTo>
                  <a:pt x="603289" y="1075723"/>
                  <a:pt x="593054" y="1085958"/>
                  <a:pt x="580429" y="1085958"/>
                </a:cubicBezTo>
                <a:cubicBezTo>
                  <a:pt x="567804" y="1085958"/>
                  <a:pt x="557569" y="1075723"/>
                  <a:pt x="557569" y="1063098"/>
                </a:cubicBezTo>
                <a:cubicBezTo>
                  <a:pt x="557569" y="1050473"/>
                  <a:pt x="567804" y="1040238"/>
                  <a:pt x="580429" y="1040238"/>
                </a:cubicBezTo>
                <a:close/>
                <a:moveTo>
                  <a:pt x="6202585" y="868066"/>
                </a:moveTo>
                <a:lnTo>
                  <a:pt x="6226380" y="884987"/>
                </a:lnTo>
                <a:lnTo>
                  <a:pt x="6228343" y="889725"/>
                </a:lnTo>
                <a:cubicBezTo>
                  <a:pt x="6228343" y="902350"/>
                  <a:pt x="6218108" y="912585"/>
                  <a:pt x="6205483" y="912585"/>
                </a:cubicBezTo>
                <a:cubicBezTo>
                  <a:pt x="6192858" y="912585"/>
                  <a:pt x="6182623" y="902350"/>
                  <a:pt x="6182623" y="889725"/>
                </a:cubicBezTo>
                <a:cubicBezTo>
                  <a:pt x="6182623" y="883413"/>
                  <a:pt x="6185182" y="877698"/>
                  <a:pt x="6189319" y="873561"/>
                </a:cubicBezTo>
                <a:close/>
                <a:moveTo>
                  <a:pt x="6018538" y="866865"/>
                </a:moveTo>
                <a:cubicBezTo>
                  <a:pt x="6031163" y="866865"/>
                  <a:pt x="6041398" y="877100"/>
                  <a:pt x="6041398" y="889725"/>
                </a:cubicBezTo>
                <a:cubicBezTo>
                  <a:pt x="6041398" y="902350"/>
                  <a:pt x="6031163" y="912585"/>
                  <a:pt x="6018538" y="912585"/>
                </a:cubicBezTo>
                <a:cubicBezTo>
                  <a:pt x="6005913" y="912585"/>
                  <a:pt x="5995678" y="902350"/>
                  <a:pt x="5995678" y="889725"/>
                </a:cubicBezTo>
                <a:cubicBezTo>
                  <a:pt x="5995678" y="877100"/>
                  <a:pt x="6005913" y="866865"/>
                  <a:pt x="6018538" y="866865"/>
                </a:cubicBezTo>
                <a:close/>
                <a:moveTo>
                  <a:pt x="5831593" y="866865"/>
                </a:moveTo>
                <a:cubicBezTo>
                  <a:pt x="5844218" y="866865"/>
                  <a:pt x="5854453" y="877100"/>
                  <a:pt x="5854453" y="889725"/>
                </a:cubicBezTo>
                <a:cubicBezTo>
                  <a:pt x="5854453" y="902350"/>
                  <a:pt x="5844218" y="912585"/>
                  <a:pt x="5831593" y="912585"/>
                </a:cubicBezTo>
                <a:cubicBezTo>
                  <a:pt x="5818968" y="912585"/>
                  <a:pt x="5808733" y="902350"/>
                  <a:pt x="5808733" y="889725"/>
                </a:cubicBezTo>
                <a:cubicBezTo>
                  <a:pt x="5808733" y="877100"/>
                  <a:pt x="5818968" y="866865"/>
                  <a:pt x="5831593" y="866865"/>
                </a:cubicBezTo>
                <a:close/>
                <a:moveTo>
                  <a:pt x="5644648" y="866865"/>
                </a:moveTo>
                <a:cubicBezTo>
                  <a:pt x="5657273" y="866865"/>
                  <a:pt x="5667508" y="877100"/>
                  <a:pt x="5667508" y="889725"/>
                </a:cubicBezTo>
                <a:cubicBezTo>
                  <a:pt x="5667508" y="902350"/>
                  <a:pt x="5657273" y="912585"/>
                  <a:pt x="5644648" y="912585"/>
                </a:cubicBezTo>
                <a:cubicBezTo>
                  <a:pt x="5632023" y="912585"/>
                  <a:pt x="5621788" y="902350"/>
                  <a:pt x="5621788" y="889725"/>
                </a:cubicBezTo>
                <a:cubicBezTo>
                  <a:pt x="5621788" y="877100"/>
                  <a:pt x="5632023" y="866865"/>
                  <a:pt x="5644648" y="866865"/>
                </a:cubicBezTo>
                <a:close/>
                <a:moveTo>
                  <a:pt x="5457703" y="866865"/>
                </a:moveTo>
                <a:cubicBezTo>
                  <a:pt x="5470328" y="866865"/>
                  <a:pt x="5480563" y="877100"/>
                  <a:pt x="5480563" y="889725"/>
                </a:cubicBezTo>
                <a:cubicBezTo>
                  <a:pt x="5480563" y="902350"/>
                  <a:pt x="5470328" y="912585"/>
                  <a:pt x="5457703" y="912585"/>
                </a:cubicBezTo>
                <a:cubicBezTo>
                  <a:pt x="5445078" y="912585"/>
                  <a:pt x="5434843" y="902350"/>
                  <a:pt x="5434843" y="889725"/>
                </a:cubicBezTo>
                <a:cubicBezTo>
                  <a:pt x="5434843" y="877100"/>
                  <a:pt x="5445078" y="866865"/>
                  <a:pt x="5457703" y="866865"/>
                </a:cubicBezTo>
                <a:close/>
                <a:moveTo>
                  <a:pt x="1515154" y="866865"/>
                </a:moveTo>
                <a:cubicBezTo>
                  <a:pt x="1521467" y="866865"/>
                  <a:pt x="1527182" y="869424"/>
                  <a:pt x="1531319" y="873561"/>
                </a:cubicBezTo>
                <a:lnTo>
                  <a:pt x="1534707" y="881740"/>
                </a:lnTo>
                <a:lnTo>
                  <a:pt x="1510999" y="892109"/>
                </a:lnTo>
                <a:lnTo>
                  <a:pt x="1496459" y="899780"/>
                </a:lnTo>
                <a:lnTo>
                  <a:pt x="1492294" y="889725"/>
                </a:lnTo>
                <a:cubicBezTo>
                  <a:pt x="1492294" y="877100"/>
                  <a:pt x="1502529" y="866865"/>
                  <a:pt x="1515154" y="866865"/>
                </a:cubicBezTo>
                <a:close/>
                <a:moveTo>
                  <a:pt x="1328209" y="866865"/>
                </a:moveTo>
                <a:cubicBezTo>
                  <a:pt x="1340834" y="866865"/>
                  <a:pt x="1351069" y="877100"/>
                  <a:pt x="1351069" y="889725"/>
                </a:cubicBezTo>
                <a:cubicBezTo>
                  <a:pt x="1351069" y="902350"/>
                  <a:pt x="1340834" y="912585"/>
                  <a:pt x="1328209" y="912585"/>
                </a:cubicBezTo>
                <a:cubicBezTo>
                  <a:pt x="1315584" y="912585"/>
                  <a:pt x="1305349" y="902350"/>
                  <a:pt x="1305349" y="889725"/>
                </a:cubicBezTo>
                <a:cubicBezTo>
                  <a:pt x="1305349" y="877100"/>
                  <a:pt x="1315584" y="866865"/>
                  <a:pt x="1328209" y="866865"/>
                </a:cubicBezTo>
                <a:close/>
                <a:moveTo>
                  <a:pt x="1141264" y="866865"/>
                </a:moveTo>
                <a:cubicBezTo>
                  <a:pt x="1153889" y="866865"/>
                  <a:pt x="1164124" y="877100"/>
                  <a:pt x="1164124" y="889725"/>
                </a:cubicBezTo>
                <a:cubicBezTo>
                  <a:pt x="1164124" y="902350"/>
                  <a:pt x="1153889" y="912585"/>
                  <a:pt x="1141264" y="912585"/>
                </a:cubicBezTo>
                <a:cubicBezTo>
                  <a:pt x="1128639" y="912585"/>
                  <a:pt x="1118404" y="902350"/>
                  <a:pt x="1118404" y="889725"/>
                </a:cubicBezTo>
                <a:cubicBezTo>
                  <a:pt x="1118404" y="877100"/>
                  <a:pt x="1128639" y="866865"/>
                  <a:pt x="1141264" y="866865"/>
                </a:cubicBezTo>
                <a:close/>
                <a:moveTo>
                  <a:pt x="954319" y="866865"/>
                </a:moveTo>
                <a:cubicBezTo>
                  <a:pt x="966944" y="866865"/>
                  <a:pt x="977179" y="877100"/>
                  <a:pt x="977179" y="889725"/>
                </a:cubicBezTo>
                <a:cubicBezTo>
                  <a:pt x="977179" y="902350"/>
                  <a:pt x="966944" y="912585"/>
                  <a:pt x="954319" y="912585"/>
                </a:cubicBezTo>
                <a:cubicBezTo>
                  <a:pt x="941694" y="912585"/>
                  <a:pt x="931459" y="902350"/>
                  <a:pt x="931459" y="889725"/>
                </a:cubicBezTo>
                <a:cubicBezTo>
                  <a:pt x="931459" y="877100"/>
                  <a:pt x="941694" y="866865"/>
                  <a:pt x="954319" y="866865"/>
                </a:cubicBezTo>
                <a:close/>
                <a:moveTo>
                  <a:pt x="767374" y="866865"/>
                </a:moveTo>
                <a:cubicBezTo>
                  <a:pt x="779999" y="866865"/>
                  <a:pt x="790234" y="877100"/>
                  <a:pt x="790234" y="889725"/>
                </a:cubicBezTo>
                <a:cubicBezTo>
                  <a:pt x="790234" y="902350"/>
                  <a:pt x="779999" y="912585"/>
                  <a:pt x="767374" y="912585"/>
                </a:cubicBezTo>
                <a:cubicBezTo>
                  <a:pt x="754749" y="912585"/>
                  <a:pt x="744514" y="902350"/>
                  <a:pt x="744514" y="889725"/>
                </a:cubicBezTo>
                <a:cubicBezTo>
                  <a:pt x="744514" y="877100"/>
                  <a:pt x="754749" y="866865"/>
                  <a:pt x="767374" y="866865"/>
                </a:cubicBezTo>
                <a:close/>
                <a:moveTo>
                  <a:pt x="5831593" y="693492"/>
                </a:moveTo>
                <a:cubicBezTo>
                  <a:pt x="5844218" y="693492"/>
                  <a:pt x="5854453" y="703727"/>
                  <a:pt x="5854453" y="716352"/>
                </a:cubicBezTo>
                <a:cubicBezTo>
                  <a:pt x="5854453" y="728977"/>
                  <a:pt x="5844218" y="739212"/>
                  <a:pt x="5831593" y="739212"/>
                </a:cubicBezTo>
                <a:cubicBezTo>
                  <a:pt x="5818968" y="739212"/>
                  <a:pt x="5808733" y="728977"/>
                  <a:pt x="5808733" y="716352"/>
                </a:cubicBezTo>
                <a:cubicBezTo>
                  <a:pt x="5808733" y="703727"/>
                  <a:pt x="5818968" y="693492"/>
                  <a:pt x="5831593" y="693492"/>
                </a:cubicBezTo>
                <a:close/>
                <a:moveTo>
                  <a:pt x="5644648" y="693492"/>
                </a:moveTo>
                <a:cubicBezTo>
                  <a:pt x="5657273" y="693492"/>
                  <a:pt x="5667508" y="703727"/>
                  <a:pt x="5667508" y="716352"/>
                </a:cubicBezTo>
                <a:cubicBezTo>
                  <a:pt x="5667508" y="728977"/>
                  <a:pt x="5657273" y="739212"/>
                  <a:pt x="5644648" y="739212"/>
                </a:cubicBezTo>
                <a:cubicBezTo>
                  <a:pt x="5632023" y="739212"/>
                  <a:pt x="5621788" y="728977"/>
                  <a:pt x="5621788" y="716352"/>
                </a:cubicBezTo>
                <a:cubicBezTo>
                  <a:pt x="5621788" y="703727"/>
                  <a:pt x="5632023" y="693492"/>
                  <a:pt x="5644648" y="693492"/>
                </a:cubicBezTo>
                <a:close/>
                <a:moveTo>
                  <a:pt x="5457703" y="693492"/>
                </a:moveTo>
                <a:cubicBezTo>
                  <a:pt x="5470328" y="693492"/>
                  <a:pt x="5480563" y="703727"/>
                  <a:pt x="5480563" y="716352"/>
                </a:cubicBezTo>
                <a:cubicBezTo>
                  <a:pt x="5480563" y="728977"/>
                  <a:pt x="5470328" y="739212"/>
                  <a:pt x="5457703" y="739212"/>
                </a:cubicBezTo>
                <a:cubicBezTo>
                  <a:pt x="5445078" y="739212"/>
                  <a:pt x="5434843" y="728977"/>
                  <a:pt x="5434843" y="716352"/>
                </a:cubicBezTo>
                <a:cubicBezTo>
                  <a:pt x="5434843" y="703727"/>
                  <a:pt x="5445078" y="693492"/>
                  <a:pt x="5457703" y="693492"/>
                </a:cubicBezTo>
                <a:close/>
                <a:moveTo>
                  <a:pt x="5270758" y="693492"/>
                </a:moveTo>
                <a:cubicBezTo>
                  <a:pt x="5283383" y="693492"/>
                  <a:pt x="5293618" y="703727"/>
                  <a:pt x="5293618" y="716352"/>
                </a:cubicBezTo>
                <a:cubicBezTo>
                  <a:pt x="5293618" y="728977"/>
                  <a:pt x="5283383" y="739212"/>
                  <a:pt x="5270758" y="739212"/>
                </a:cubicBezTo>
                <a:cubicBezTo>
                  <a:pt x="5258133" y="739212"/>
                  <a:pt x="5247898" y="728977"/>
                  <a:pt x="5247898" y="716352"/>
                </a:cubicBezTo>
                <a:cubicBezTo>
                  <a:pt x="5247898" y="703727"/>
                  <a:pt x="5258133" y="693492"/>
                  <a:pt x="5270758" y="693492"/>
                </a:cubicBezTo>
                <a:close/>
                <a:moveTo>
                  <a:pt x="5083813" y="693492"/>
                </a:moveTo>
                <a:cubicBezTo>
                  <a:pt x="5096438" y="693492"/>
                  <a:pt x="5106673" y="703727"/>
                  <a:pt x="5106673" y="716352"/>
                </a:cubicBezTo>
                <a:cubicBezTo>
                  <a:pt x="5106673" y="728977"/>
                  <a:pt x="5096438" y="739212"/>
                  <a:pt x="5083813" y="739212"/>
                </a:cubicBezTo>
                <a:cubicBezTo>
                  <a:pt x="5071188" y="739212"/>
                  <a:pt x="5060953" y="728977"/>
                  <a:pt x="5060953" y="716352"/>
                </a:cubicBezTo>
                <a:cubicBezTo>
                  <a:pt x="5060953" y="703727"/>
                  <a:pt x="5071188" y="693492"/>
                  <a:pt x="5083813" y="693492"/>
                </a:cubicBezTo>
                <a:close/>
                <a:moveTo>
                  <a:pt x="4896868" y="693492"/>
                </a:moveTo>
                <a:cubicBezTo>
                  <a:pt x="4909493" y="693492"/>
                  <a:pt x="4919728" y="703727"/>
                  <a:pt x="4919728" y="716352"/>
                </a:cubicBezTo>
                <a:lnTo>
                  <a:pt x="4919203" y="717621"/>
                </a:lnTo>
                <a:lnTo>
                  <a:pt x="4879303" y="703570"/>
                </a:lnTo>
                <a:lnTo>
                  <a:pt x="4880704" y="700188"/>
                </a:lnTo>
                <a:cubicBezTo>
                  <a:pt x="4884841" y="696051"/>
                  <a:pt x="4890556" y="693492"/>
                  <a:pt x="4896868" y="693492"/>
                </a:cubicBezTo>
                <a:close/>
                <a:moveTo>
                  <a:pt x="1889044" y="693492"/>
                </a:moveTo>
                <a:cubicBezTo>
                  <a:pt x="1901669" y="693492"/>
                  <a:pt x="1911904" y="703727"/>
                  <a:pt x="1911904" y="716352"/>
                </a:cubicBezTo>
                <a:lnTo>
                  <a:pt x="1907353" y="727340"/>
                </a:lnTo>
                <a:lnTo>
                  <a:pt x="1881966" y="736280"/>
                </a:lnTo>
                <a:lnTo>
                  <a:pt x="1872880" y="732517"/>
                </a:lnTo>
                <a:cubicBezTo>
                  <a:pt x="1868743" y="728380"/>
                  <a:pt x="1866184" y="722665"/>
                  <a:pt x="1866184" y="716352"/>
                </a:cubicBezTo>
                <a:cubicBezTo>
                  <a:pt x="1866184" y="703727"/>
                  <a:pt x="1876419" y="693492"/>
                  <a:pt x="1889044" y="693492"/>
                </a:cubicBezTo>
                <a:close/>
                <a:moveTo>
                  <a:pt x="1702099" y="693492"/>
                </a:moveTo>
                <a:cubicBezTo>
                  <a:pt x="1714724" y="693492"/>
                  <a:pt x="1724959" y="703727"/>
                  <a:pt x="1724959" y="716352"/>
                </a:cubicBezTo>
                <a:cubicBezTo>
                  <a:pt x="1724959" y="728977"/>
                  <a:pt x="1714724" y="739212"/>
                  <a:pt x="1702099" y="739212"/>
                </a:cubicBezTo>
                <a:cubicBezTo>
                  <a:pt x="1689474" y="739212"/>
                  <a:pt x="1679239" y="728977"/>
                  <a:pt x="1679239" y="716352"/>
                </a:cubicBezTo>
                <a:cubicBezTo>
                  <a:pt x="1679239" y="703727"/>
                  <a:pt x="1689474" y="693492"/>
                  <a:pt x="1702099" y="693492"/>
                </a:cubicBezTo>
                <a:close/>
                <a:moveTo>
                  <a:pt x="1515154" y="693492"/>
                </a:moveTo>
                <a:cubicBezTo>
                  <a:pt x="1527779" y="693492"/>
                  <a:pt x="1538014" y="703727"/>
                  <a:pt x="1538014" y="716352"/>
                </a:cubicBezTo>
                <a:cubicBezTo>
                  <a:pt x="1538014" y="728977"/>
                  <a:pt x="1527779" y="739212"/>
                  <a:pt x="1515154" y="739212"/>
                </a:cubicBezTo>
                <a:cubicBezTo>
                  <a:pt x="1502529" y="739212"/>
                  <a:pt x="1492294" y="728977"/>
                  <a:pt x="1492294" y="716352"/>
                </a:cubicBezTo>
                <a:cubicBezTo>
                  <a:pt x="1492294" y="703727"/>
                  <a:pt x="1502529" y="693492"/>
                  <a:pt x="1515154" y="693492"/>
                </a:cubicBezTo>
                <a:close/>
                <a:moveTo>
                  <a:pt x="1328209" y="693492"/>
                </a:moveTo>
                <a:cubicBezTo>
                  <a:pt x="1340834" y="693492"/>
                  <a:pt x="1351069" y="703727"/>
                  <a:pt x="1351069" y="716352"/>
                </a:cubicBezTo>
                <a:cubicBezTo>
                  <a:pt x="1351069" y="728977"/>
                  <a:pt x="1340834" y="739212"/>
                  <a:pt x="1328209" y="739212"/>
                </a:cubicBezTo>
                <a:cubicBezTo>
                  <a:pt x="1315584" y="739212"/>
                  <a:pt x="1305349" y="728977"/>
                  <a:pt x="1305349" y="716352"/>
                </a:cubicBezTo>
                <a:cubicBezTo>
                  <a:pt x="1305349" y="703727"/>
                  <a:pt x="1315584" y="693492"/>
                  <a:pt x="1328209" y="693492"/>
                </a:cubicBezTo>
                <a:close/>
                <a:moveTo>
                  <a:pt x="1141264" y="693492"/>
                </a:moveTo>
                <a:cubicBezTo>
                  <a:pt x="1153889" y="693492"/>
                  <a:pt x="1164124" y="703727"/>
                  <a:pt x="1164124" y="716352"/>
                </a:cubicBezTo>
                <a:cubicBezTo>
                  <a:pt x="1164124" y="728977"/>
                  <a:pt x="1153889" y="739212"/>
                  <a:pt x="1141264" y="739212"/>
                </a:cubicBezTo>
                <a:cubicBezTo>
                  <a:pt x="1128639" y="739212"/>
                  <a:pt x="1118404" y="728977"/>
                  <a:pt x="1118404" y="716352"/>
                </a:cubicBezTo>
                <a:cubicBezTo>
                  <a:pt x="1118404" y="703727"/>
                  <a:pt x="1128639" y="693492"/>
                  <a:pt x="1141264" y="693492"/>
                </a:cubicBezTo>
                <a:close/>
                <a:moveTo>
                  <a:pt x="954319" y="693492"/>
                </a:moveTo>
                <a:cubicBezTo>
                  <a:pt x="966944" y="693492"/>
                  <a:pt x="977179" y="703727"/>
                  <a:pt x="977179" y="716352"/>
                </a:cubicBezTo>
                <a:cubicBezTo>
                  <a:pt x="977179" y="728977"/>
                  <a:pt x="966944" y="739212"/>
                  <a:pt x="954319" y="739212"/>
                </a:cubicBezTo>
                <a:cubicBezTo>
                  <a:pt x="941694" y="739212"/>
                  <a:pt x="931459" y="728977"/>
                  <a:pt x="931459" y="716352"/>
                </a:cubicBezTo>
                <a:cubicBezTo>
                  <a:pt x="931459" y="703727"/>
                  <a:pt x="941694" y="693492"/>
                  <a:pt x="954319" y="693492"/>
                </a:cubicBezTo>
                <a:close/>
                <a:moveTo>
                  <a:pt x="1159252" y="554743"/>
                </a:moveTo>
                <a:lnTo>
                  <a:pt x="1157429" y="559144"/>
                </a:lnTo>
                <a:cubicBezTo>
                  <a:pt x="1153292" y="563280"/>
                  <a:pt x="1147577" y="565839"/>
                  <a:pt x="1141264" y="565839"/>
                </a:cubicBezTo>
                <a:lnTo>
                  <a:pt x="1139231" y="564997"/>
                </a:lnTo>
                <a:close/>
                <a:moveTo>
                  <a:pt x="5635060" y="524091"/>
                </a:moveTo>
                <a:lnTo>
                  <a:pt x="5666315" y="540099"/>
                </a:lnTo>
                <a:lnTo>
                  <a:pt x="5667508" y="542979"/>
                </a:lnTo>
                <a:cubicBezTo>
                  <a:pt x="5667508" y="555604"/>
                  <a:pt x="5657273" y="565839"/>
                  <a:pt x="5644648" y="565839"/>
                </a:cubicBezTo>
                <a:cubicBezTo>
                  <a:pt x="5632023" y="565839"/>
                  <a:pt x="5621788" y="555604"/>
                  <a:pt x="5621788" y="542979"/>
                </a:cubicBezTo>
                <a:cubicBezTo>
                  <a:pt x="5621788" y="536667"/>
                  <a:pt x="5624347" y="530952"/>
                  <a:pt x="5628484" y="526815"/>
                </a:cubicBezTo>
                <a:close/>
                <a:moveTo>
                  <a:pt x="5457703" y="520119"/>
                </a:moveTo>
                <a:cubicBezTo>
                  <a:pt x="5470328" y="520119"/>
                  <a:pt x="5480563" y="530354"/>
                  <a:pt x="5480563" y="542979"/>
                </a:cubicBezTo>
                <a:cubicBezTo>
                  <a:pt x="5480563" y="555604"/>
                  <a:pt x="5470328" y="565839"/>
                  <a:pt x="5457703" y="565839"/>
                </a:cubicBezTo>
                <a:cubicBezTo>
                  <a:pt x="5445078" y="565839"/>
                  <a:pt x="5434843" y="555604"/>
                  <a:pt x="5434843" y="542979"/>
                </a:cubicBezTo>
                <a:cubicBezTo>
                  <a:pt x="5434843" y="530354"/>
                  <a:pt x="5445078" y="520119"/>
                  <a:pt x="5457703" y="520119"/>
                </a:cubicBezTo>
                <a:close/>
                <a:moveTo>
                  <a:pt x="5270758" y="520119"/>
                </a:moveTo>
                <a:cubicBezTo>
                  <a:pt x="5283383" y="520119"/>
                  <a:pt x="5293618" y="530354"/>
                  <a:pt x="5293618" y="542979"/>
                </a:cubicBezTo>
                <a:cubicBezTo>
                  <a:pt x="5293618" y="555604"/>
                  <a:pt x="5283383" y="565839"/>
                  <a:pt x="5270758" y="565839"/>
                </a:cubicBezTo>
                <a:cubicBezTo>
                  <a:pt x="5258133" y="565839"/>
                  <a:pt x="5247898" y="555604"/>
                  <a:pt x="5247898" y="542979"/>
                </a:cubicBezTo>
                <a:cubicBezTo>
                  <a:pt x="5247898" y="530354"/>
                  <a:pt x="5258133" y="520119"/>
                  <a:pt x="5270758" y="520119"/>
                </a:cubicBezTo>
                <a:close/>
                <a:moveTo>
                  <a:pt x="5083813" y="520119"/>
                </a:moveTo>
                <a:cubicBezTo>
                  <a:pt x="5096438" y="520119"/>
                  <a:pt x="5106673" y="530354"/>
                  <a:pt x="5106673" y="542979"/>
                </a:cubicBezTo>
                <a:cubicBezTo>
                  <a:pt x="5106673" y="555604"/>
                  <a:pt x="5096438" y="565839"/>
                  <a:pt x="5083813" y="565839"/>
                </a:cubicBezTo>
                <a:cubicBezTo>
                  <a:pt x="5071188" y="565839"/>
                  <a:pt x="5060953" y="555604"/>
                  <a:pt x="5060953" y="542979"/>
                </a:cubicBezTo>
                <a:cubicBezTo>
                  <a:pt x="5060953" y="530354"/>
                  <a:pt x="5071188" y="520119"/>
                  <a:pt x="5083813" y="520119"/>
                </a:cubicBezTo>
                <a:close/>
                <a:moveTo>
                  <a:pt x="4896868" y="520119"/>
                </a:moveTo>
                <a:cubicBezTo>
                  <a:pt x="4909493" y="520119"/>
                  <a:pt x="4919728" y="530354"/>
                  <a:pt x="4919728" y="542979"/>
                </a:cubicBezTo>
                <a:cubicBezTo>
                  <a:pt x="4919728" y="555604"/>
                  <a:pt x="4909493" y="565839"/>
                  <a:pt x="4896868" y="565839"/>
                </a:cubicBezTo>
                <a:cubicBezTo>
                  <a:pt x="4884243" y="565839"/>
                  <a:pt x="4874008" y="555604"/>
                  <a:pt x="4874008" y="542979"/>
                </a:cubicBezTo>
                <a:cubicBezTo>
                  <a:pt x="4874008" y="530354"/>
                  <a:pt x="4884243" y="520119"/>
                  <a:pt x="4896868" y="520119"/>
                </a:cubicBezTo>
                <a:close/>
                <a:moveTo>
                  <a:pt x="4709923" y="520119"/>
                </a:moveTo>
                <a:cubicBezTo>
                  <a:pt x="4722548" y="520119"/>
                  <a:pt x="4732783" y="530354"/>
                  <a:pt x="4732783" y="542979"/>
                </a:cubicBezTo>
                <a:cubicBezTo>
                  <a:pt x="4732783" y="555604"/>
                  <a:pt x="4722548" y="565839"/>
                  <a:pt x="4709923" y="565839"/>
                </a:cubicBezTo>
                <a:cubicBezTo>
                  <a:pt x="4697298" y="565839"/>
                  <a:pt x="4687063" y="555604"/>
                  <a:pt x="4687063" y="542979"/>
                </a:cubicBezTo>
                <a:cubicBezTo>
                  <a:pt x="4687063" y="530354"/>
                  <a:pt x="4697298" y="520119"/>
                  <a:pt x="4709923" y="520119"/>
                </a:cubicBezTo>
                <a:close/>
                <a:moveTo>
                  <a:pt x="4522978" y="520119"/>
                </a:moveTo>
                <a:cubicBezTo>
                  <a:pt x="4535603" y="520119"/>
                  <a:pt x="4545838" y="530354"/>
                  <a:pt x="4545838" y="542979"/>
                </a:cubicBezTo>
                <a:cubicBezTo>
                  <a:pt x="4545838" y="555604"/>
                  <a:pt x="4535603" y="565839"/>
                  <a:pt x="4522978" y="565839"/>
                </a:cubicBezTo>
                <a:cubicBezTo>
                  <a:pt x="4510353" y="565839"/>
                  <a:pt x="4500118" y="555604"/>
                  <a:pt x="4500118" y="542979"/>
                </a:cubicBezTo>
                <a:cubicBezTo>
                  <a:pt x="4500118" y="530354"/>
                  <a:pt x="4510353" y="520119"/>
                  <a:pt x="4522978" y="520119"/>
                </a:cubicBezTo>
                <a:close/>
                <a:moveTo>
                  <a:pt x="4336033" y="520119"/>
                </a:moveTo>
                <a:cubicBezTo>
                  <a:pt x="4348658" y="520119"/>
                  <a:pt x="4358893" y="530354"/>
                  <a:pt x="4358893" y="542979"/>
                </a:cubicBezTo>
                <a:lnTo>
                  <a:pt x="4353603" y="555752"/>
                </a:lnTo>
                <a:lnTo>
                  <a:pt x="4315436" y="548443"/>
                </a:lnTo>
                <a:lnTo>
                  <a:pt x="4313173" y="542979"/>
                </a:lnTo>
                <a:cubicBezTo>
                  <a:pt x="4313173" y="530354"/>
                  <a:pt x="4323408" y="520119"/>
                  <a:pt x="4336033" y="520119"/>
                </a:cubicBezTo>
                <a:close/>
                <a:moveTo>
                  <a:pt x="2636824" y="520119"/>
                </a:moveTo>
                <a:lnTo>
                  <a:pt x="2652567" y="526640"/>
                </a:lnTo>
                <a:lnTo>
                  <a:pt x="2617989" y="533262"/>
                </a:lnTo>
                <a:lnTo>
                  <a:pt x="2620660" y="526815"/>
                </a:lnTo>
                <a:cubicBezTo>
                  <a:pt x="2624797" y="522678"/>
                  <a:pt x="2630512" y="520119"/>
                  <a:pt x="2636824" y="520119"/>
                </a:cubicBezTo>
                <a:close/>
                <a:moveTo>
                  <a:pt x="2449879" y="520119"/>
                </a:moveTo>
                <a:cubicBezTo>
                  <a:pt x="2462504" y="520119"/>
                  <a:pt x="2472739" y="530354"/>
                  <a:pt x="2472739" y="542979"/>
                </a:cubicBezTo>
                <a:cubicBezTo>
                  <a:pt x="2472739" y="549292"/>
                  <a:pt x="2470181" y="555007"/>
                  <a:pt x="2466044" y="559144"/>
                </a:cubicBezTo>
                <a:lnTo>
                  <a:pt x="2451598" y="565127"/>
                </a:lnTo>
                <a:lnTo>
                  <a:pt x="2449247" y="565577"/>
                </a:lnTo>
                <a:lnTo>
                  <a:pt x="2433715" y="559144"/>
                </a:lnTo>
                <a:cubicBezTo>
                  <a:pt x="2429578" y="555007"/>
                  <a:pt x="2427019" y="549292"/>
                  <a:pt x="2427019" y="542979"/>
                </a:cubicBezTo>
                <a:cubicBezTo>
                  <a:pt x="2427019" y="530354"/>
                  <a:pt x="2437254" y="520119"/>
                  <a:pt x="2449879" y="520119"/>
                </a:cubicBezTo>
                <a:close/>
                <a:moveTo>
                  <a:pt x="2262934" y="520119"/>
                </a:moveTo>
                <a:cubicBezTo>
                  <a:pt x="2275559" y="520119"/>
                  <a:pt x="2285794" y="530354"/>
                  <a:pt x="2285794" y="542979"/>
                </a:cubicBezTo>
                <a:cubicBezTo>
                  <a:pt x="2285794" y="555604"/>
                  <a:pt x="2275559" y="565839"/>
                  <a:pt x="2262934" y="565839"/>
                </a:cubicBezTo>
                <a:cubicBezTo>
                  <a:pt x="2250309" y="565839"/>
                  <a:pt x="2240074" y="555604"/>
                  <a:pt x="2240074" y="542979"/>
                </a:cubicBezTo>
                <a:cubicBezTo>
                  <a:pt x="2240074" y="530354"/>
                  <a:pt x="2250309" y="520119"/>
                  <a:pt x="2262934" y="520119"/>
                </a:cubicBezTo>
                <a:close/>
                <a:moveTo>
                  <a:pt x="2075989" y="520119"/>
                </a:moveTo>
                <a:cubicBezTo>
                  <a:pt x="2088614" y="520119"/>
                  <a:pt x="2098849" y="530354"/>
                  <a:pt x="2098849" y="542979"/>
                </a:cubicBezTo>
                <a:cubicBezTo>
                  <a:pt x="2098849" y="555604"/>
                  <a:pt x="2088614" y="565839"/>
                  <a:pt x="2075989" y="565839"/>
                </a:cubicBezTo>
                <a:cubicBezTo>
                  <a:pt x="2063364" y="565839"/>
                  <a:pt x="2053129" y="555604"/>
                  <a:pt x="2053129" y="542979"/>
                </a:cubicBezTo>
                <a:cubicBezTo>
                  <a:pt x="2053129" y="530354"/>
                  <a:pt x="2063364" y="520119"/>
                  <a:pt x="2075989" y="520119"/>
                </a:cubicBezTo>
                <a:close/>
                <a:moveTo>
                  <a:pt x="1889044" y="520119"/>
                </a:moveTo>
                <a:cubicBezTo>
                  <a:pt x="1901669" y="520119"/>
                  <a:pt x="1911904" y="530354"/>
                  <a:pt x="1911904" y="542979"/>
                </a:cubicBezTo>
                <a:cubicBezTo>
                  <a:pt x="1911904" y="555604"/>
                  <a:pt x="1901669" y="565839"/>
                  <a:pt x="1889044" y="565839"/>
                </a:cubicBezTo>
                <a:cubicBezTo>
                  <a:pt x="1876419" y="565839"/>
                  <a:pt x="1866184" y="555604"/>
                  <a:pt x="1866184" y="542979"/>
                </a:cubicBezTo>
                <a:cubicBezTo>
                  <a:pt x="1866184" y="530354"/>
                  <a:pt x="1876419" y="520119"/>
                  <a:pt x="1889044" y="520119"/>
                </a:cubicBezTo>
                <a:close/>
                <a:moveTo>
                  <a:pt x="1702099" y="520119"/>
                </a:moveTo>
                <a:cubicBezTo>
                  <a:pt x="1714724" y="520119"/>
                  <a:pt x="1724959" y="530354"/>
                  <a:pt x="1724959" y="542979"/>
                </a:cubicBezTo>
                <a:cubicBezTo>
                  <a:pt x="1724959" y="555604"/>
                  <a:pt x="1714724" y="565839"/>
                  <a:pt x="1702099" y="565839"/>
                </a:cubicBezTo>
                <a:cubicBezTo>
                  <a:pt x="1689474" y="565839"/>
                  <a:pt x="1679239" y="555604"/>
                  <a:pt x="1679239" y="542979"/>
                </a:cubicBezTo>
                <a:cubicBezTo>
                  <a:pt x="1679239" y="530354"/>
                  <a:pt x="1689474" y="520119"/>
                  <a:pt x="1702099" y="520119"/>
                </a:cubicBezTo>
                <a:close/>
                <a:moveTo>
                  <a:pt x="1515154" y="520119"/>
                </a:moveTo>
                <a:cubicBezTo>
                  <a:pt x="1527779" y="520119"/>
                  <a:pt x="1538014" y="530354"/>
                  <a:pt x="1538014" y="542979"/>
                </a:cubicBezTo>
                <a:cubicBezTo>
                  <a:pt x="1538014" y="555604"/>
                  <a:pt x="1527779" y="565839"/>
                  <a:pt x="1515154" y="565839"/>
                </a:cubicBezTo>
                <a:cubicBezTo>
                  <a:pt x="1502529" y="565839"/>
                  <a:pt x="1492294" y="555604"/>
                  <a:pt x="1492294" y="542979"/>
                </a:cubicBezTo>
                <a:cubicBezTo>
                  <a:pt x="1492294" y="530354"/>
                  <a:pt x="1502529" y="520119"/>
                  <a:pt x="1515154" y="520119"/>
                </a:cubicBezTo>
                <a:close/>
                <a:moveTo>
                  <a:pt x="1328209" y="520119"/>
                </a:moveTo>
                <a:cubicBezTo>
                  <a:pt x="1340834" y="520119"/>
                  <a:pt x="1351069" y="530354"/>
                  <a:pt x="1351069" y="542979"/>
                </a:cubicBezTo>
                <a:cubicBezTo>
                  <a:pt x="1351069" y="555604"/>
                  <a:pt x="1340834" y="565839"/>
                  <a:pt x="1328209" y="565839"/>
                </a:cubicBezTo>
                <a:cubicBezTo>
                  <a:pt x="1315584" y="565839"/>
                  <a:pt x="1305349" y="555604"/>
                  <a:pt x="1305349" y="542979"/>
                </a:cubicBezTo>
                <a:cubicBezTo>
                  <a:pt x="1305349" y="530354"/>
                  <a:pt x="1315584" y="520119"/>
                  <a:pt x="1328209" y="520119"/>
                </a:cubicBezTo>
                <a:close/>
                <a:moveTo>
                  <a:pt x="1536305" y="373733"/>
                </a:moveTo>
                <a:lnTo>
                  <a:pt x="1531319" y="385771"/>
                </a:lnTo>
                <a:cubicBezTo>
                  <a:pt x="1527182" y="389908"/>
                  <a:pt x="1521467" y="392466"/>
                  <a:pt x="1515154" y="392466"/>
                </a:cubicBezTo>
                <a:lnTo>
                  <a:pt x="1504568" y="388081"/>
                </a:lnTo>
                <a:close/>
                <a:moveTo>
                  <a:pt x="5261225" y="350695"/>
                </a:moveTo>
                <a:lnTo>
                  <a:pt x="5290579" y="362269"/>
                </a:lnTo>
                <a:lnTo>
                  <a:pt x="5293618" y="369606"/>
                </a:lnTo>
                <a:cubicBezTo>
                  <a:pt x="5293618" y="382231"/>
                  <a:pt x="5283383" y="392466"/>
                  <a:pt x="5270758" y="392466"/>
                </a:cubicBezTo>
                <a:cubicBezTo>
                  <a:pt x="5258133" y="392466"/>
                  <a:pt x="5247898" y="382231"/>
                  <a:pt x="5247898" y="369606"/>
                </a:cubicBezTo>
                <a:cubicBezTo>
                  <a:pt x="5247898" y="363294"/>
                  <a:pt x="5250457" y="357579"/>
                  <a:pt x="5254594" y="353442"/>
                </a:cubicBezTo>
                <a:close/>
                <a:moveTo>
                  <a:pt x="5083813" y="346746"/>
                </a:moveTo>
                <a:cubicBezTo>
                  <a:pt x="5096438" y="346746"/>
                  <a:pt x="5106673" y="356981"/>
                  <a:pt x="5106673" y="369606"/>
                </a:cubicBezTo>
                <a:cubicBezTo>
                  <a:pt x="5106673" y="382231"/>
                  <a:pt x="5096438" y="392466"/>
                  <a:pt x="5083813" y="392466"/>
                </a:cubicBezTo>
                <a:cubicBezTo>
                  <a:pt x="5071188" y="392466"/>
                  <a:pt x="5060953" y="382231"/>
                  <a:pt x="5060953" y="369606"/>
                </a:cubicBezTo>
                <a:cubicBezTo>
                  <a:pt x="5060953" y="356981"/>
                  <a:pt x="5071188" y="346746"/>
                  <a:pt x="5083813" y="346746"/>
                </a:cubicBezTo>
                <a:close/>
                <a:moveTo>
                  <a:pt x="4896868" y="346746"/>
                </a:moveTo>
                <a:cubicBezTo>
                  <a:pt x="4909493" y="346746"/>
                  <a:pt x="4919728" y="356981"/>
                  <a:pt x="4919728" y="369606"/>
                </a:cubicBezTo>
                <a:cubicBezTo>
                  <a:pt x="4919728" y="382231"/>
                  <a:pt x="4909493" y="392466"/>
                  <a:pt x="4896868" y="392466"/>
                </a:cubicBezTo>
                <a:cubicBezTo>
                  <a:pt x="4884243" y="392466"/>
                  <a:pt x="4874008" y="382231"/>
                  <a:pt x="4874008" y="369606"/>
                </a:cubicBezTo>
                <a:cubicBezTo>
                  <a:pt x="4874008" y="356981"/>
                  <a:pt x="4884243" y="346746"/>
                  <a:pt x="4896868" y="346746"/>
                </a:cubicBezTo>
                <a:close/>
                <a:moveTo>
                  <a:pt x="4709923" y="346746"/>
                </a:moveTo>
                <a:cubicBezTo>
                  <a:pt x="4722548" y="346746"/>
                  <a:pt x="4732783" y="356981"/>
                  <a:pt x="4732783" y="369606"/>
                </a:cubicBezTo>
                <a:cubicBezTo>
                  <a:pt x="4732783" y="382231"/>
                  <a:pt x="4722548" y="392466"/>
                  <a:pt x="4709923" y="392466"/>
                </a:cubicBezTo>
                <a:cubicBezTo>
                  <a:pt x="4697298" y="392466"/>
                  <a:pt x="4687063" y="382231"/>
                  <a:pt x="4687063" y="369606"/>
                </a:cubicBezTo>
                <a:cubicBezTo>
                  <a:pt x="4687063" y="356981"/>
                  <a:pt x="4697298" y="346746"/>
                  <a:pt x="4709923" y="346746"/>
                </a:cubicBezTo>
                <a:close/>
                <a:moveTo>
                  <a:pt x="4522978" y="346746"/>
                </a:moveTo>
                <a:cubicBezTo>
                  <a:pt x="4535603" y="346746"/>
                  <a:pt x="4545838" y="356981"/>
                  <a:pt x="4545838" y="369606"/>
                </a:cubicBezTo>
                <a:cubicBezTo>
                  <a:pt x="4545838" y="382231"/>
                  <a:pt x="4535603" y="392466"/>
                  <a:pt x="4522978" y="392466"/>
                </a:cubicBezTo>
                <a:cubicBezTo>
                  <a:pt x="4510353" y="392466"/>
                  <a:pt x="4500118" y="382231"/>
                  <a:pt x="4500118" y="369606"/>
                </a:cubicBezTo>
                <a:cubicBezTo>
                  <a:pt x="4500118" y="356981"/>
                  <a:pt x="4510353" y="346746"/>
                  <a:pt x="4522978" y="346746"/>
                </a:cubicBezTo>
                <a:close/>
                <a:moveTo>
                  <a:pt x="4336033" y="346746"/>
                </a:moveTo>
                <a:cubicBezTo>
                  <a:pt x="4348658" y="346746"/>
                  <a:pt x="4358893" y="356981"/>
                  <a:pt x="4358893" y="369606"/>
                </a:cubicBezTo>
                <a:cubicBezTo>
                  <a:pt x="4358893" y="382231"/>
                  <a:pt x="4348658" y="392466"/>
                  <a:pt x="4336033" y="392466"/>
                </a:cubicBezTo>
                <a:cubicBezTo>
                  <a:pt x="4323408" y="392466"/>
                  <a:pt x="4313173" y="382231"/>
                  <a:pt x="4313173" y="369606"/>
                </a:cubicBezTo>
                <a:cubicBezTo>
                  <a:pt x="4313173" y="356981"/>
                  <a:pt x="4323408" y="346746"/>
                  <a:pt x="4336033" y="346746"/>
                </a:cubicBezTo>
                <a:close/>
                <a:moveTo>
                  <a:pt x="4132393" y="346746"/>
                </a:moveTo>
                <a:cubicBezTo>
                  <a:pt x="4145018" y="346746"/>
                  <a:pt x="4155253" y="356981"/>
                  <a:pt x="4155253" y="369606"/>
                </a:cubicBezTo>
                <a:cubicBezTo>
                  <a:pt x="4155253" y="382231"/>
                  <a:pt x="4145018" y="392466"/>
                  <a:pt x="4132393" y="392466"/>
                </a:cubicBezTo>
                <a:cubicBezTo>
                  <a:pt x="4119768" y="392466"/>
                  <a:pt x="4109533" y="382231"/>
                  <a:pt x="4109533" y="369606"/>
                </a:cubicBezTo>
                <a:cubicBezTo>
                  <a:pt x="4109533" y="356981"/>
                  <a:pt x="4119768" y="346746"/>
                  <a:pt x="4132393" y="346746"/>
                </a:cubicBezTo>
                <a:close/>
                <a:moveTo>
                  <a:pt x="3945439" y="346746"/>
                </a:moveTo>
                <a:cubicBezTo>
                  <a:pt x="3958064" y="346746"/>
                  <a:pt x="3968299" y="356981"/>
                  <a:pt x="3968299" y="369606"/>
                </a:cubicBezTo>
                <a:cubicBezTo>
                  <a:pt x="3968299" y="382231"/>
                  <a:pt x="3958064" y="392466"/>
                  <a:pt x="3945439" y="392466"/>
                </a:cubicBezTo>
                <a:cubicBezTo>
                  <a:pt x="3932814" y="392466"/>
                  <a:pt x="3922579" y="382231"/>
                  <a:pt x="3922579" y="369606"/>
                </a:cubicBezTo>
                <a:cubicBezTo>
                  <a:pt x="3922579" y="356981"/>
                  <a:pt x="3932814" y="346746"/>
                  <a:pt x="3945439" y="346746"/>
                </a:cubicBezTo>
                <a:close/>
                <a:moveTo>
                  <a:pt x="3758494" y="346746"/>
                </a:moveTo>
                <a:cubicBezTo>
                  <a:pt x="3771119" y="346746"/>
                  <a:pt x="3781354" y="356981"/>
                  <a:pt x="3781354" y="369606"/>
                </a:cubicBezTo>
                <a:cubicBezTo>
                  <a:pt x="3781354" y="382231"/>
                  <a:pt x="3771119" y="392466"/>
                  <a:pt x="3758494" y="392466"/>
                </a:cubicBezTo>
                <a:cubicBezTo>
                  <a:pt x="3745869" y="392466"/>
                  <a:pt x="3735634" y="382231"/>
                  <a:pt x="3735634" y="369606"/>
                </a:cubicBezTo>
                <a:cubicBezTo>
                  <a:pt x="3735634" y="356981"/>
                  <a:pt x="3745869" y="346746"/>
                  <a:pt x="3758494" y="346746"/>
                </a:cubicBezTo>
                <a:close/>
                <a:moveTo>
                  <a:pt x="3571549" y="346746"/>
                </a:moveTo>
                <a:cubicBezTo>
                  <a:pt x="3584174" y="346746"/>
                  <a:pt x="3594409" y="356981"/>
                  <a:pt x="3594409" y="369606"/>
                </a:cubicBezTo>
                <a:cubicBezTo>
                  <a:pt x="3594409" y="382231"/>
                  <a:pt x="3584174" y="392466"/>
                  <a:pt x="3571549" y="392466"/>
                </a:cubicBezTo>
                <a:cubicBezTo>
                  <a:pt x="3558924" y="392466"/>
                  <a:pt x="3548689" y="382231"/>
                  <a:pt x="3548689" y="369606"/>
                </a:cubicBezTo>
                <a:cubicBezTo>
                  <a:pt x="3548689" y="356981"/>
                  <a:pt x="3558924" y="346746"/>
                  <a:pt x="3571549" y="346746"/>
                </a:cubicBezTo>
                <a:close/>
                <a:moveTo>
                  <a:pt x="3384604" y="346746"/>
                </a:moveTo>
                <a:cubicBezTo>
                  <a:pt x="3397229" y="346746"/>
                  <a:pt x="3407464" y="356981"/>
                  <a:pt x="3407464" y="369606"/>
                </a:cubicBezTo>
                <a:cubicBezTo>
                  <a:pt x="3407464" y="382231"/>
                  <a:pt x="3397229" y="392466"/>
                  <a:pt x="3384604" y="392466"/>
                </a:cubicBezTo>
                <a:cubicBezTo>
                  <a:pt x="3371979" y="392466"/>
                  <a:pt x="3361744" y="382231"/>
                  <a:pt x="3361744" y="369606"/>
                </a:cubicBezTo>
                <a:cubicBezTo>
                  <a:pt x="3361744" y="356981"/>
                  <a:pt x="3371979" y="346746"/>
                  <a:pt x="3384604" y="346746"/>
                </a:cubicBezTo>
                <a:close/>
                <a:moveTo>
                  <a:pt x="3197659" y="346746"/>
                </a:moveTo>
                <a:cubicBezTo>
                  <a:pt x="3210284" y="346746"/>
                  <a:pt x="3220519" y="356981"/>
                  <a:pt x="3220519" y="369606"/>
                </a:cubicBezTo>
                <a:cubicBezTo>
                  <a:pt x="3220519" y="382231"/>
                  <a:pt x="3210284" y="392466"/>
                  <a:pt x="3197659" y="392466"/>
                </a:cubicBezTo>
                <a:cubicBezTo>
                  <a:pt x="3185034" y="392466"/>
                  <a:pt x="3174799" y="382231"/>
                  <a:pt x="3174799" y="369606"/>
                </a:cubicBezTo>
                <a:cubicBezTo>
                  <a:pt x="3174799" y="356981"/>
                  <a:pt x="3185034" y="346746"/>
                  <a:pt x="3197659" y="346746"/>
                </a:cubicBezTo>
                <a:close/>
                <a:moveTo>
                  <a:pt x="3010714" y="346746"/>
                </a:moveTo>
                <a:cubicBezTo>
                  <a:pt x="3023339" y="346746"/>
                  <a:pt x="3033574" y="356981"/>
                  <a:pt x="3033574" y="369606"/>
                </a:cubicBezTo>
                <a:cubicBezTo>
                  <a:pt x="3033574" y="382231"/>
                  <a:pt x="3023339" y="392466"/>
                  <a:pt x="3010714" y="392466"/>
                </a:cubicBezTo>
                <a:cubicBezTo>
                  <a:pt x="2998089" y="392466"/>
                  <a:pt x="2987854" y="382231"/>
                  <a:pt x="2987854" y="369606"/>
                </a:cubicBezTo>
                <a:cubicBezTo>
                  <a:pt x="2987854" y="356981"/>
                  <a:pt x="2998089" y="346746"/>
                  <a:pt x="3010714" y="346746"/>
                </a:cubicBezTo>
                <a:close/>
                <a:moveTo>
                  <a:pt x="2823769" y="346746"/>
                </a:moveTo>
                <a:cubicBezTo>
                  <a:pt x="2836394" y="346746"/>
                  <a:pt x="2846629" y="356981"/>
                  <a:pt x="2846629" y="369606"/>
                </a:cubicBezTo>
                <a:cubicBezTo>
                  <a:pt x="2846629" y="382231"/>
                  <a:pt x="2836394" y="392466"/>
                  <a:pt x="2823769" y="392466"/>
                </a:cubicBezTo>
                <a:cubicBezTo>
                  <a:pt x="2811144" y="392466"/>
                  <a:pt x="2800909" y="382231"/>
                  <a:pt x="2800909" y="369606"/>
                </a:cubicBezTo>
                <a:cubicBezTo>
                  <a:pt x="2800909" y="356981"/>
                  <a:pt x="2811144" y="346746"/>
                  <a:pt x="2823769" y="346746"/>
                </a:cubicBezTo>
                <a:close/>
                <a:moveTo>
                  <a:pt x="2636824" y="346746"/>
                </a:moveTo>
                <a:cubicBezTo>
                  <a:pt x="2649449" y="346746"/>
                  <a:pt x="2659684" y="356981"/>
                  <a:pt x="2659684" y="369606"/>
                </a:cubicBezTo>
                <a:cubicBezTo>
                  <a:pt x="2659684" y="382231"/>
                  <a:pt x="2649449" y="392466"/>
                  <a:pt x="2636824" y="392466"/>
                </a:cubicBezTo>
                <a:cubicBezTo>
                  <a:pt x="2624199" y="392466"/>
                  <a:pt x="2613964" y="382231"/>
                  <a:pt x="2613964" y="369606"/>
                </a:cubicBezTo>
                <a:cubicBezTo>
                  <a:pt x="2613964" y="356981"/>
                  <a:pt x="2624199" y="346746"/>
                  <a:pt x="2636824" y="346746"/>
                </a:cubicBezTo>
                <a:close/>
                <a:moveTo>
                  <a:pt x="2449879" y="346746"/>
                </a:moveTo>
                <a:cubicBezTo>
                  <a:pt x="2462504" y="346746"/>
                  <a:pt x="2472739" y="356981"/>
                  <a:pt x="2472739" y="369606"/>
                </a:cubicBezTo>
                <a:cubicBezTo>
                  <a:pt x="2472739" y="382231"/>
                  <a:pt x="2462504" y="392466"/>
                  <a:pt x="2449879" y="392466"/>
                </a:cubicBezTo>
                <a:cubicBezTo>
                  <a:pt x="2437254" y="392466"/>
                  <a:pt x="2427019" y="382231"/>
                  <a:pt x="2427019" y="369606"/>
                </a:cubicBezTo>
                <a:cubicBezTo>
                  <a:pt x="2427019" y="356981"/>
                  <a:pt x="2437254" y="346746"/>
                  <a:pt x="2449879" y="346746"/>
                </a:cubicBezTo>
                <a:close/>
                <a:moveTo>
                  <a:pt x="2262934" y="346746"/>
                </a:moveTo>
                <a:cubicBezTo>
                  <a:pt x="2275559" y="346746"/>
                  <a:pt x="2285794" y="356981"/>
                  <a:pt x="2285794" y="369606"/>
                </a:cubicBezTo>
                <a:cubicBezTo>
                  <a:pt x="2285794" y="382231"/>
                  <a:pt x="2275559" y="392466"/>
                  <a:pt x="2262934" y="392466"/>
                </a:cubicBezTo>
                <a:cubicBezTo>
                  <a:pt x="2250309" y="392466"/>
                  <a:pt x="2240074" y="382231"/>
                  <a:pt x="2240074" y="369606"/>
                </a:cubicBezTo>
                <a:cubicBezTo>
                  <a:pt x="2240074" y="356981"/>
                  <a:pt x="2250309" y="346746"/>
                  <a:pt x="2262934" y="346746"/>
                </a:cubicBezTo>
                <a:close/>
                <a:moveTo>
                  <a:pt x="2075989" y="346746"/>
                </a:moveTo>
                <a:cubicBezTo>
                  <a:pt x="2088614" y="346746"/>
                  <a:pt x="2098849" y="356981"/>
                  <a:pt x="2098849" y="369606"/>
                </a:cubicBezTo>
                <a:cubicBezTo>
                  <a:pt x="2098849" y="382231"/>
                  <a:pt x="2088614" y="392466"/>
                  <a:pt x="2075989" y="392466"/>
                </a:cubicBezTo>
                <a:cubicBezTo>
                  <a:pt x="2063364" y="392466"/>
                  <a:pt x="2053129" y="382231"/>
                  <a:pt x="2053129" y="369606"/>
                </a:cubicBezTo>
                <a:cubicBezTo>
                  <a:pt x="2053129" y="356981"/>
                  <a:pt x="2063364" y="346746"/>
                  <a:pt x="2075989" y="346746"/>
                </a:cubicBezTo>
                <a:close/>
                <a:moveTo>
                  <a:pt x="1889044" y="346746"/>
                </a:moveTo>
                <a:cubicBezTo>
                  <a:pt x="1901669" y="346746"/>
                  <a:pt x="1911904" y="356981"/>
                  <a:pt x="1911904" y="369606"/>
                </a:cubicBezTo>
                <a:cubicBezTo>
                  <a:pt x="1911904" y="382231"/>
                  <a:pt x="1901669" y="392466"/>
                  <a:pt x="1889044" y="392466"/>
                </a:cubicBezTo>
                <a:cubicBezTo>
                  <a:pt x="1876419" y="392466"/>
                  <a:pt x="1866184" y="382231"/>
                  <a:pt x="1866184" y="369606"/>
                </a:cubicBezTo>
                <a:cubicBezTo>
                  <a:pt x="1866184" y="356981"/>
                  <a:pt x="1876419" y="346746"/>
                  <a:pt x="1889044" y="346746"/>
                </a:cubicBezTo>
                <a:close/>
                <a:moveTo>
                  <a:pt x="1702099" y="346746"/>
                </a:moveTo>
                <a:cubicBezTo>
                  <a:pt x="1714724" y="346746"/>
                  <a:pt x="1724959" y="356981"/>
                  <a:pt x="1724959" y="369606"/>
                </a:cubicBezTo>
                <a:cubicBezTo>
                  <a:pt x="1724959" y="382231"/>
                  <a:pt x="1714724" y="392466"/>
                  <a:pt x="1702099" y="392466"/>
                </a:cubicBezTo>
                <a:cubicBezTo>
                  <a:pt x="1689474" y="392466"/>
                  <a:pt x="1679239" y="382231"/>
                  <a:pt x="1679239" y="369606"/>
                </a:cubicBezTo>
                <a:cubicBezTo>
                  <a:pt x="1679239" y="356981"/>
                  <a:pt x="1689474" y="346746"/>
                  <a:pt x="1702099" y="346746"/>
                </a:cubicBezTo>
                <a:close/>
                <a:moveTo>
                  <a:pt x="4880592" y="212127"/>
                </a:moveTo>
                <a:lnTo>
                  <a:pt x="4898807" y="218290"/>
                </a:lnTo>
                <a:lnTo>
                  <a:pt x="4896868" y="219093"/>
                </a:lnTo>
                <a:cubicBezTo>
                  <a:pt x="4890556" y="219093"/>
                  <a:pt x="4884841" y="216535"/>
                  <a:pt x="4880704" y="212398"/>
                </a:cubicBezTo>
                <a:close/>
                <a:moveTo>
                  <a:pt x="2088405" y="178516"/>
                </a:moveTo>
                <a:lnTo>
                  <a:pt x="2092154" y="180069"/>
                </a:lnTo>
                <a:cubicBezTo>
                  <a:pt x="2096291" y="184206"/>
                  <a:pt x="2098849" y="189921"/>
                  <a:pt x="2098849" y="196233"/>
                </a:cubicBezTo>
                <a:cubicBezTo>
                  <a:pt x="2098849" y="208858"/>
                  <a:pt x="2088614" y="219093"/>
                  <a:pt x="2075989" y="219093"/>
                </a:cubicBezTo>
                <a:cubicBezTo>
                  <a:pt x="2063364" y="219093"/>
                  <a:pt x="2053129" y="208858"/>
                  <a:pt x="2053129" y="196233"/>
                </a:cubicBezTo>
                <a:lnTo>
                  <a:pt x="2056744" y="187507"/>
                </a:lnTo>
                <a:close/>
                <a:moveTo>
                  <a:pt x="4709923" y="173373"/>
                </a:moveTo>
                <a:cubicBezTo>
                  <a:pt x="4722548" y="173373"/>
                  <a:pt x="4732783" y="183608"/>
                  <a:pt x="4732783" y="196233"/>
                </a:cubicBezTo>
                <a:cubicBezTo>
                  <a:pt x="4732783" y="208858"/>
                  <a:pt x="4722548" y="219093"/>
                  <a:pt x="4709923" y="219093"/>
                </a:cubicBezTo>
                <a:cubicBezTo>
                  <a:pt x="4697298" y="219093"/>
                  <a:pt x="4687063" y="208858"/>
                  <a:pt x="4687063" y="196233"/>
                </a:cubicBezTo>
                <a:cubicBezTo>
                  <a:pt x="4687063" y="183608"/>
                  <a:pt x="4697298" y="173373"/>
                  <a:pt x="4709923" y="173373"/>
                </a:cubicBezTo>
                <a:close/>
                <a:moveTo>
                  <a:pt x="4522978" y="173373"/>
                </a:moveTo>
                <a:cubicBezTo>
                  <a:pt x="4535603" y="173373"/>
                  <a:pt x="4545838" y="183608"/>
                  <a:pt x="4545838" y="196233"/>
                </a:cubicBezTo>
                <a:cubicBezTo>
                  <a:pt x="4545838" y="208858"/>
                  <a:pt x="4535603" y="219093"/>
                  <a:pt x="4522978" y="219093"/>
                </a:cubicBezTo>
                <a:cubicBezTo>
                  <a:pt x="4510353" y="219093"/>
                  <a:pt x="4500118" y="208858"/>
                  <a:pt x="4500118" y="196233"/>
                </a:cubicBezTo>
                <a:cubicBezTo>
                  <a:pt x="4500118" y="183608"/>
                  <a:pt x="4510353" y="173373"/>
                  <a:pt x="4522978" y="173373"/>
                </a:cubicBezTo>
                <a:close/>
                <a:moveTo>
                  <a:pt x="4336033" y="173373"/>
                </a:moveTo>
                <a:cubicBezTo>
                  <a:pt x="4348658" y="173373"/>
                  <a:pt x="4358893" y="183608"/>
                  <a:pt x="4358893" y="196233"/>
                </a:cubicBezTo>
                <a:cubicBezTo>
                  <a:pt x="4358893" y="208858"/>
                  <a:pt x="4348658" y="219093"/>
                  <a:pt x="4336033" y="219093"/>
                </a:cubicBezTo>
                <a:cubicBezTo>
                  <a:pt x="4323408" y="219093"/>
                  <a:pt x="4313173" y="208858"/>
                  <a:pt x="4313173" y="196233"/>
                </a:cubicBezTo>
                <a:cubicBezTo>
                  <a:pt x="4313173" y="183608"/>
                  <a:pt x="4323408" y="173373"/>
                  <a:pt x="4336033" y="173373"/>
                </a:cubicBezTo>
                <a:close/>
                <a:moveTo>
                  <a:pt x="4132393" y="173373"/>
                </a:moveTo>
                <a:cubicBezTo>
                  <a:pt x="4145018" y="173373"/>
                  <a:pt x="4155253" y="183608"/>
                  <a:pt x="4155253" y="196233"/>
                </a:cubicBezTo>
                <a:cubicBezTo>
                  <a:pt x="4155253" y="208858"/>
                  <a:pt x="4145018" y="219093"/>
                  <a:pt x="4132393" y="219093"/>
                </a:cubicBezTo>
                <a:cubicBezTo>
                  <a:pt x="4119768" y="219093"/>
                  <a:pt x="4109533" y="208858"/>
                  <a:pt x="4109533" y="196233"/>
                </a:cubicBezTo>
                <a:cubicBezTo>
                  <a:pt x="4109533" y="183608"/>
                  <a:pt x="4119768" y="173373"/>
                  <a:pt x="4132393" y="173373"/>
                </a:cubicBezTo>
                <a:close/>
                <a:moveTo>
                  <a:pt x="3945439" y="173373"/>
                </a:moveTo>
                <a:cubicBezTo>
                  <a:pt x="3958064" y="173373"/>
                  <a:pt x="3968299" y="183608"/>
                  <a:pt x="3968299" y="196233"/>
                </a:cubicBezTo>
                <a:cubicBezTo>
                  <a:pt x="3968299" y="208858"/>
                  <a:pt x="3958064" y="219093"/>
                  <a:pt x="3945439" y="219093"/>
                </a:cubicBezTo>
                <a:cubicBezTo>
                  <a:pt x="3932814" y="219093"/>
                  <a:pt x="3922579" y="208858"/>
                  <a:pt x="3922579" y="196233"/>
                </a:cubicBezTo>
                <a:cubicBezTo>
                  <a:pt x="3922579" y="183608"/>
                  <a:pt x="3932814" y="173373"/>
                  <a:pt x="3945439" y="173373"/>
                </a:cubicBezTo>
                <a:close/>
                <a:moveTo>
                  <a:pt x="3758494" y="173373"/>
                </a:moveTo>
                <a:cubicBezTo>
                  <a:pt x="3771119" y="173373"/>
                  <a:pt x="3781354" y="183608"/>
                  <a:pt x="3781354" y="196233"/>
                </a:cubicBezTo>
                <a:cubicBezTo>
                  <a:pt x="3781354" y="208858"/>
                  <a:pt x="3771119" y="219093"/>
                  <a:pt x="3758494" y="219093"/>
                </a:cubicBezTo>
                <a:cubicBezTo>
                  <a:pt x="3745869" y="219093"/>
                  <a:pt x="3735634" y="208858"/>
                  <a:pt x="3735634" y="196233"/>
                </a:cubicBezTo>
                <a:cubicBezTo>
                  <a:pt x="3735634" y="183608"/>
                  <a:pt x="3745869" y="173373"/>
                  <a:pt x="3758494" y="173373"/>
                </a:cubicBezTo>
                <a:close/>
                <a:moveTo>
                  <a:pt x="3571549" y="173373"/>
                </a:moveTo>
                <a:cubicBezTo>
                  <a:pt x="3584174" y="173373"/>
                  <a:pt x="3594409" y="183608"/>
                  <a:pt x="3594409" y="196233"/>
                </a:cubicBezTo>
                <a:cubicBezTo>
                  <a:pt x="3594409" y="208858"/>
                  <a:pt x="3584174" y="219093"/>
                  <a:pt x="3571549" y="219093"/>
                </a:cubicBezTo>
                <a:cubicBezTo>
                  <a:pt x="3558924" y="219093"/>
                  <a:pt x="3548689" y="208858"/>
                  <a:pt x="3548689" y="196233"/>
                </a:cubicBezTo>
                <a:cubicBezTo>
                  <a:pt x="3548689" y="183608"/>
                  <a:pt x="3558924" y="173373"/>
                  <a:pt x="3571549" y="173373"/>
                </a:cubicBezTo>
                <a:close/>
                <a:moveTo>
                  <a:pt x="3384604" y="173373"/>
                </a:moveTo>
                <a:cubicBezTo>
                  <a:pt x="3397229" y="173373"/>
                  <a:pt x="3407464" y="183608"/>
                  <a:pt x="3407464" y="196233"/>
                </a:cubicBezTo>
                <a:cubicBezTo>
                  <a:pt x="3407464" y="208858"/>
                  <a:pt x="3397229" y="219093"/>
                  <a:pt x="3384604" y="219093"/>
                </a:cubicBezTo>
                <a:cubicBezTo>
                  <a:pt x="3371979" y="219093"/>
                  <a:pt x="3361744" y="208858"/>
                  <a:pt x="3361744" y="196233"/>
                </a:cubicBezTo>
                <a:cubicBezTo>
                  <a:pt x="3361744" y="183608"/>
                  <a:pt x="3371979" y="173373"/>
                  <a:pt x="3384604" y="173373"/>
                </a:cubicBezTo>
                <a:close/>
                <a:moveTo>
                  <a:pt x="3197659" y="173373"/>
                </a:moveTo>
                <a:cubicBezTo>
                  <a:pt x="3210284" y="173373"/>
                  <a:pt x="3220519" y="183608"/>
                  <a:pt x="3220519" y="196233"/>
                </a:cubicBezTo>
                <a:cubicBezTo>
                  <a:pt x="3220519" y="208858"/>
                  <a:pt x="3210284" y="219093"/>
                  <a:pt x="3197659" y="219093"/>
                </a:cubicBezTo>
                <a:cubicBezTo>
                  <a:pt x="3185034" y="219093"/>
                  <a:pt x="3174799" y="208858"/>
                  <a:pt x="3174799" y="196233"/>
                </a:cubicBezTo>
                <a:cubicBezTo>
                  <a:pt x="3174799" y="183608"/>
                  <a:pt x="3185034" y="173373"/>
                  <a:pt x="3197659" y="173373"/>
                </a:cubicBezTo>
                <a:close/>
                <a:moveTo>
                  <a:pt x="3010714" y="173373"/>
                </a:moveTo>
                <a:cubicBezTo>
                  <a:pt x="3023339" y="173373"/>
                  <a:pt x="3033574" y="183608"/>
                  <a:pt x="3033574" y="196233"/>
                </a:cubicBezTo>
                <a:cubicBezTo>
                  <a:pt x="3033574" y="208858"/>
                  <a:pt x="3023339" y="219093"/>
                  <a:pt x="3010714" y="219093"/>
                </a:cubicBezTo>
                <a:cubicBezTo>
                  <a:pt x="2998089" y="219093"/>
                  <a:pt x="2987854" y="208858"/>
                  <a:pt x="2987854" y="196233"/>
                </a:cubicBezTo>
                <a:cubicBezTo>
                  <a:pt x="2987854" y="183608"/>
                  <a:pt x="2998089" y="173373"/>
                  <a:pt x="3010714" y="173373"/>
                </a:cubicBezTo>
                <a:close/>
                <a:moveTo>
                  <a:pt x="2823769" y="173373"/>
                </a:moveTo>
                <a:cubicBezTo>
                  <a:pt x="2836394" y="173373"/>
                  <a:pt x="2846629" y="183608"/>
                  <a:pt x="2846629" y="196233"/>
                </a:cubicBezTo>
                <a:cubicBezTo>
                  <a:pt x="2846629" y="208858"/>
                  <a:pt x="2836394" y="219093"/>
                  <a:pt x="2823769" y="219093"/>
                </a:cubicBezTo>
                <a:cubicBezTo>
                  <a:pt x="2811144" y="219093"/>
                  <a:pt x="2800909" y="208858"/>
                  <a:pt x="2800909" y="196233"/>
                </a:cubicBezTo>
                <a:cubicBezTo>
                  <a:pt x="2800909" y="183608"/>
                  <a:pt x="2811144" y="173373"/>
                  <a:pt x="2823769" y="173373"/>
                </a:cubicBezTo>
                <a:close/>
                <a:moveTo>
                  <a:pt x="2636824" y="173373"/>
                </a:moveTo>
                <a:cubicBezTo>
                  <a:pt x="2649449" y="173373"/>
                  <a:pt x="2659684" y="183608"/>
                  <a:pt x="2659684" y="196233"/>
                </a:cubicBezTo>
                <a:cubicBezTo>
                  <a:pt x="2659684" y="208858"/>
                  <a:pt x="2649449" y="219093"/>
                  <a:pt x="2636824" y="219093"/>
                </a:cubicBezTo>
                <a:cubicBezTo>
                  <a:pt x="2624199" y="219093"/>
                  <a:pt x="2613964" y="208858"/>
                  <a:pt x="2613964" y="196233"/>
                </a:cubicBezTo>
                <a:cubicBezTo>
                  <a:pt x="2613964" y="183608"/>
                  <a:pt x="2624199" y="173373"/>
                  <a:pt x="2636824" y="173373"/>
                </a:cubicBezTo>
                <a:close/>
                <a:moveTo>
                  <a:pt x="2449879" y="173373"/>
                </a:moveTo>
                <a:cubicBezTo>
                  <a:pt x="2462504" y="173373"/>
                  <a:pt x="2472739" y="183608"/>
                  <a:pt x="2472739" y="196233"/>
                </a:cubicBezTo>
                <a:cubicBezTo>
                  <a:pt x="2472739" y="208858"/>
                  <a:pt x="2462504" y="219093"/>
                  <a:pt x="2449879" y="219093"/>
                </a:cubicBezTo>
                <a:cubicBezTo>
                  <a:pt x="2437254" y="219093"/>
                  <a:pt x="2427019" y="208858"/>
                  <a:pt x="2427019" y="196233"/>
                </a:cubicBezTo>
                <a:cubicBezTo>
                  <a:pt x="2427019" y="183608"/>
                  <a:pt x="2437254" y="173373"/>
                  <a:pt x="2449879" y="173373"/>
                </a:cubicBezTo>
                <a:close/>
                <a:moveTo>
                  <a:pt x="2262934" y="173373"/>
                </a:moveTo>
                <a:cubicBezTo>
                  <a:pt x="2275559" y="173373"/>
                  <a:pt x="2285794" y="183608"/>
                  <a:pt x="2285794" y="196233"/>
                </a:cubicBezTo>
                <a:cubicBezTo>
                  <a:pt x="2285794" y="208858"/>
                  <a:pt x="2275559" y="219093"/>
                  <a:pt x="2262934" y="219093"/>
                </a:cubicBezTo>
                <a:cubicBezTo>
                  <a:pt x="2250309" y="219093"/>
                  <a:pt x="2240074" y="208858"/>
                  <a:pt x="2240074" y="196233"/>
                </a:cubicBezTo>
                <a:cubicBezTo>
                  <a:pt x="2240074" y="183608"/>
                  <a:pt x="2250309" y="173373"/>
                  <a:pt x="2262934" y="173373"/>
                </a:cubicBezTo>
                <a:close/>
                <a:moveTo>
                  <a:pt x="4116095" y="38700"/>
                </a:moveTo>
                <a:lnTo>
                  <a:pt x="4141536" y="41933"/>
                </a:lnTo>
                <a:lnTo>
                  <a:pt x="4132393" y="45720"/>
                </a:lnTo>
                <a:cubicBezTo>
                  <a:pt x="4126081" y="45720"/>
                  <a:pt x="4120366" y="43162"/>
                  <a:pt x="4116229" y="39025"/>
                </a:cubicBezTo>
                <a:close/>
                <a:moveTo>
                  <a:pt x="2845735" y="25019"/>
                </a:moveTo>
                <a:lnTo>
                  <a:pt x="2839934" y="39025"/>
                </a:lnTo>
                <a:cubicBezTo>
                  <a:pt x="2835797" y="43162"/>
                  <a:pt x="2830082" y="45720"/>
                  <a:pt x="2823769" y="45720"/>
                </a:cubicBezTo>
                <a:cubicBezTo>
                  <a:pt x="2817457" y="45720"/>
                  <a:pt x="2811742" y="43162"/>
                  <a:pt x="2807605" y="39025"/>
                </a:cubicBezTo>
                <a:lnTo>
                  <a:pt x="2804000" y="30322"/>
                </a:lnTo>
                <a:close/>
                <a:moveTo>
                  <a:pt x="3926023" y="14548"/>
                </a:moveTo>
                <a:lnTo>
                  <a:pt x="3967014" y="19757"/>
                </a:lnTo>
                <a:lnTo>
                  <a:pt x="3968299" y="22860"/>
                </a:lnTo>
                <a:cubicBezTo>
                  <a:pt x="3968299" y="35485"/>
                  <a:pt x="3958064" y="45720"/>
                  <a:pt x="3945439" y="45720"/>
                </a:cubicBezTo>
                <a:cubicBezTo>
                  <a:pt x="3932814" y="45720"/>
                  <a:pt x="3922579" y="35485"/>
                  <a:pt x="3922579" y="22860"/>
                </a:cubicBezTo>
                <a:close/>
                <a:moveTo>
                  <a:pt x="3026904" y="6756"/>
                </a:moveTo>
                <a:lnTo>
                  <a:pt x="3033574" y="22860"/>
                </a:lnTo>
                <a:cubicBezTo>
                  <a:pt x="3033574" y="35485"/>
                  <a:pt x="3023339" y="45720"/>
                  <a:pt x="3010714" y="45720"/>
                </a:cubicBezTo>
                <a:cubicBezTo>
                  <a:pt x="2998089" y="45720"/>
                  <a:pt x="2987854" y="35485"/>
                  <a:pt x="2987854" y="22860"/>
                </a:cubicBezTo>
                <a:lnTo>
                  <a:pt x="2993472" y="9298"/>
                </a:lnTo>
                <a:close/>
                <a:moveTo>
                  <a:pt x="3755379" y="1291"/>
                </a:moveTo>
                <a:lnTo>
                  <a:pt x="3763010" y="1871"/>
                </a:lnTo>
                <a:lnTo>
                  <a:pt x="3774659" y="6696"/>
                </a:lnTo>
                <a:cubicBezTo>
                  <a:pt x="3778796" y="10833"/>
                  <a:pt x="3781354" y="16548"/>
                  <a:pt x="3781354" y="22860"/>
                </a:cubicBezTo>
                <a:cubicBezTo>
                  <a:pt x="3781354" y="35485"/>
                  <a:pt x="3771119" y="45720"/>
                  <a:pt x="3758494" y="45720"/>
                </a:cubicBezTo>
                <a:cubicBezTo>
                  <a:pt x="3745869" y="45720"/>
                  <a:pt x="3735634" y="35485"/>
                  <a:pt x="3735634" y="22860"/>
                </a:cubicBezTo>
                <a:cubicBezTo>
                  <a:pt x="3735634" y="16548"/>
                  <a:pt x="3738193" y="10833"/>
                  <a:pt x="3742330" y="6696"/>
                </a:cubicBezTo>
                <a:close/>
                <a:moveTo>
                  <a:pt x="3571549" y="0"/>
                </a:moveTo>
                <a:cubicBezTo>
                  <a:pt x="3584174" y="0"/>
                  <a:pt x="3594409" y="10235"/>
                  <a:pt x="3594409" y="22860"/>
                </a:cubicBezTo>
                <a:cubicBezTo>
                  <a:pt x="3594409" y="35485"/>
                  <a:pt x="3584174" y="45720"/>
                  <a:pt x="3571549" y="45720"/>
                </a:cubicBezTo>
                <a:cubicBezTo>
                  <a:pt x="3558924" y="45720"/>
                  <a:pt x="3548689" y="35485"/>
                  <a:pt x="3548689" y="22860"/>
                </a:cubicBezTo>
                <a:cubicBezTo>
                  <a:pt x="3548689" y="10235"/>
                  <a:pt x="3558924" y="0"/>
                  <a:pt x="3571549" y="0"/>
                </a:cubicBezTo>
                <a:close/>
                <a:moveTo>
                  <a:pt x="3384604" y="0"/>
                </a:moveTo>
                <a:cubicBezTo>
                  <a:pt x="3397229" y="0"/>
                  <a:pt x="3407464" y="10235"/>
                  <a:pt x="3407464" y="22860"/>
                </a:cubicBezTo>
                <a:cubicBezTo>
                  <a:pt x="3407464" y="35485"/>
                  <a:pt x="3397229" y="45720"/>
                  <a:pt x="3384604" y="45720"/>
                </a:cubicBezTo>
                <a:cubicBezTo>
                  <a:pt x="3371979" y="45720"/>
                  <a:pt x="3361744" y="35485"/>
                  <a:pt x="3361744" y="22860"/>
                </a:cubicBezTo>
                <a:cubicBezTo>
                  <a:pt x="3361744" y="10235"/>
                  <a:pt x="3371979" y="0"/>
                  <a:pt x="3384604" y="0"/>
                </a:cubicBezTo>
                <a:close/>
                <a:moveTo>
                  <a:pt x="3197659" y="0"/>
                </a:moveTo>
                <a:cubicBezTo>
                  <a:pt x="3210284" y="0"/>
                  <a:pt x="3220519" y="10235"/>
                  <a:pt x="3220519" y="22860"/>
                </a:cubicBezTo>
                <a:cubicBezTo>
                  <a:pt x="3220519" y="35485"/>
                  <a:pt x="3210284" y="45720"/>
                  <a:pt x="3197659" y="45720"/>
                </a:cubicBezTo>
                <a:cubicBezTo>
                  <a:pt x="3185034" y="45720"/>
                  <a:pt x="3174799" y="35485"/>
                  <a:pt x="3174799" y="22860"/>
                </a:cubicBezTo>
                <a:cubicBezTo>
                  <a:pt x="3174799" y="10235"/>
                  <a:pt x="3185034" y="0"/>
                  <a:pt x="3197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38000"/>
                </a:scheme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54A5C97-E552-4794-BE43-EBC6F099D2D4}"/>
              </a:ext>
            </a:extLst>
          </p:cNvPr>
          <p:cNvSpPr/>
          <p:nvPr/>
        </p:nvSpPr>
        <p:spPr>
          <a:xfrm flipV="1">
            <a:off x="5170572" y="0"/>
            <a:ext cx="1850857" cy="331204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2" name="TextBox 11"/>
          <p:cNvSpPr txBox="1"/>
          <p:nvPr/>
        </p:nvSpPr>
        <p:spPr>
          <a:xfrm>
            <a:off x="2215730" y="2639835"/>
            <a:ext cx="77605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 결과</a:t>
            </a:r>
          </a:p>
        </p:txBody>
      </p:sp>
    </p:spTree>
    <p:extLst>
      <p:ext uri="{BB962C8B-B14F-4D97-AF65-F5344CB8AC3E}">
        <p14:creationId xmlns:p14="http://schemas.microsoft.com/office/powerpoint/2010/main" val="35156130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heme/theme1.xml><?xml version="1.0" encoding="utf-8"?>
<a:theme xmlns:a="http://schemas.openxmlformats.org/drawingml/2006/main" name="Office Theme">
  <a:themeElements>
    <a:clrScheme name="Custom 3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C0D0C"/>
      </a:accent1>
      <a:accent2>
        <a:srgbClr val="252625"/>
      </a:accent2>
      <a:accent3>
        <a:srgbClr val="3F403F"/>
      </a:accent3>
      <a:accent4>
        <a:srgbClr val="727372"/>
      </a:accent4>
      <a:accent5>
        <a:srgbClr val="D8D9D8"/>
      </a:accent5>
      <a:accent6>
        <a:srgbClr val="A38A60"/>
      </a:accent6>
      <a:hlink>
        <a:srgbClr val="0563C1"/>
      </a:hlink>
      <a:folHlink>
        <a:srgbClr val="954F72"/>
      </a:folHlink>
    </a:clrScheme>
    <a:fontScheme name="Custom 20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9</Words>
  <Application>Microsoft Office PowerPoint</Application>
  <PresentationFormat>와이드스크린</PresentationFormat>
  <Paragraphs>105</Paragraphs>
  <Slides>15</Slides>
  <Notes>15</Notes>
  <HiddenSlides>0</HiddenSlides>
  <MMClips>6</MMClips>
  <ScaleCrop>false</ScaleCrop>
  <HeadingPairs>
    <vt:vector size="8" baseType="variant">
      <vt:variant>
        <vt:lpstr>사용한 글꼴</vt:lpstr>
      </vt:variant>
      <vt:variant>
        <vt:i4>11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5</vt:i4>
      </vt:variant>
    </vt:vector>
  </HeadingPairs>
  <TitlesOfParts>
    <vt:vector size="28" baseType="lpstr">
      <vt:lpstr>경기천년바탕 Bold</vt:lpstr>
      <vt:lpstr>경기천년바탕 Regular</vt:lpstr>
      <vt:lpstr>경기천년제목 Bold</vt:lpstr>
      <vt:lpstr>경기천년제목 Medium</vt:lpstr>
      <vt:lpstr>경기천년제목V Bold</vt:lpstr>
      <vt:lpstr>맑은 고딕</vt:lpstr>
      <vt:lpstr>Arial</vt:lpstr>
      <vt:lpstr>Calibri</vt:lpstr>
      <vt:lpstr>Century Gothic</vt:lpstr>
      <vt:lpstr>Segoe UI</vt:lpstr>
      <vt:lpstr>Segoe UI Light</vt:lpstr>
      <vt:lpstr>Office Theme</vt:lpstr>
      <vt:lpstr>think-cell Slide</vt:lpstr>
      <vt:lpstr>스마트 캔들 워머</vt:lpstr>
      <vt:lpstr>목차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감사합니다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8-06T03:24:12Z</dcterms:created>
  <dcterms:modified xsi:type="dcterms:W3CDTF">2022-07-22T05:16:19Z</dcterms:modified>
</cp:coreProperties>
</file>